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Ex3.xml" ContentType="application/vnd.ms-office.chartex+xml"/>
  <Override PartName="/ppt/charts/style7.xml" ContentType="application/vnd.ms-office.chartstyle+xml"/>
  <Override PartName="/ppt/charts/colors7.xml" ContentType="application/vnd.ms-office.chartcolorstyle+xml"/>
  <Override PartName="/ppt/charts/chartEx4.xml" ContentType="application/vnd.ms-office.chartex+xml"/>
  <Override PartName="/ppt/charts/style8.xml" ContentType="application/vnd.ms-office.chartstyle+xml"/>
  <Override PartName="/ppt/charts/colors8.xml" ContentType="application/vnd.ms-office.chartcolorstyl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8.xml" ContentType="application/vnd.openxmlformats-officedocument.drawingml.chart+xml"/>
  <Override PartName="/ppt/charts/style12.xml" ContentType="application/vnd.ms-office.chartstyle+xml"/>
  <Override PartName="/ppt/charts/colors1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AABE"/>
    <a:srgbClr val="FDE6B8"/>
    <a:srgbClr val="002C46"/>
    <a:srgbClr val="FDDA95"/>
    <a:srgbClr val="FFFFFF"/>
    <a:srgbClr val="FBC14E"/>
    <a:srgbClr val="EBEEF2"/>
    <a:srgbClr val="AABFD6"/>
    <a:srgbClr val="8497B0"/>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58" d="100"/>
          <a:sy n="158" d="100"/>
        </p:scale>
        <p:origin x="4164" y="1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relu\Documents\Contract%20Work%20Engagements\Springboard%20Work\Statistics%20Case%20Study\Statistics%20Case%20Study%20Mentor%20Answer%20Ke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relu\Documents\Short%20Term%20Contract%20Work\Springboard%20Work\Statistics%20Case%20Study\Statistics%20Case%20Study%20Mentor%20Answer%20Key%20270620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prelu\Documents\Contract%20Work%20Engagements\Springboard%20Work\Statistics%20Case%20Study\Statistics%20Case%20Study%20Mentor%20Answer%20Ke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prelu\Documents\Contract%20Work%20Engagements\Springboard%20Work\Statistics%20Case%20Study\Statistics%20Case%20Study%20Mentor%20Answer%20Ke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prelu\Documents\5.%20Freelance%20Work\Springboard%20Work\Statistics%20Case%20Study\Statistics%20Case%20Study%20Mentor%20Answer%20Key%2027062020.xlsx"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file:///C:\Users\prelu\Documents\5.%20Freelance%20Work\Springboard%20Work\Statistics%20Case%20Study\Statistics%20Case%20Study%20Mentor%20Answer%20Key%2027062020.xlsx" TargetMode="External"/><Relationship Id="rId2" Type="http://schemas.microsoft.com/office/2011/relationships/chartColorStyle" Target="colors10.xml"/><Relationship Id="rId1" Type="http://schemas.microsoft.com/office/2011/relationships/chartStyle" Target="style10.xml"/></Relationships>
</file>

<file path=ppt/charts/_rels/chart7.xml.rels><?xml version="1.0" encoding="UTF-8" standalone="yes"?>
<Relationships xmlns="http://schemas.openxmlformats.org/package/2006/relationships"><Relationship Id="rId3" Type="http://schemas.openxmlformats.org/officeDocument/2006/relationships/oleObject" Target="file:///C:\Users\prelu\Documents\5.%20Freelance%20Work\Springboard%20Work\Statistics%20Case%20Study\Statistics%20Case%20Study%20Mentor%20Answer%20Key%2027062020.xlsx" TargetMode="External"/><Relationship Id="rId2" Type="http://schemas.microsoft.com/office/2011/relationships/chartColorStyle" Target="colors11.xml"/><Relationship Id="rId1" Type="http://schemas.microsoft.com/office/2011/relationships/chartStyle" Target="style11.xml"/></Relationships>
</file>

<file path=ppt/charts/_rels/chart8.xml.rels><?xml version="1.0" encoding="UTF-8" standalone="yes"?>
<Relationships xmlns="http://schemas.openxmlformats.org/package/2006/relationships"><Relationship Id="rId3" Type="http://schemas.openxmlformats.org/officeDocument/2006/relationships/oleObject" Target="file:///C:\Users\prelu\Documents\5.%20Freelance%20Work\Springboard%20Work\Statistics%20Case%20Study\Statistics%20Case%20Study%20Mentor%20Answer%20Key%2027062020.xlsx" TargetMode="External"/><Relationship Id="rId2" Type="http://schemas.microsoft.com/office/2011/relationships/chartColorStyle" Target="colors12.xml"/><Relationship Id="rId1" Type="http://schemas.microsoft.com/office/2011/relationships/chartStyle" Target="style12.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Correlation Strength Associated With Pump Failure (Rolling Stdev 30 Minut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solidFill>
                <a:schemeClr val="tx2">
                  <a:lumMod val="20000"/>
                  <a:lumOff val="80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heet1!$B$4:$B$10</c:f>
              <c:numCache>
                <c:formatCode>0.00</c:formatCode>
                <c:ptCount val="7"/>
                <c:pt idx="0">
                  <c:v>0.7018387356941358</c:v>
                </c:pt>
                <c:pt idx="1">
                  <c:v>0.65724651759557451</c:v>
                </c:pt>
                <c:pt idx="2">
                  <c:v>0.65607910964756189</c:v>
                </c:pt>
                <c:pt idx="3">
                  <c:v>0.63945057966693064</c:v>
                </c:pt>
                <c:pt idx="4">
                  <c:v>0.63884934780605385</c:v>
                </c:pt>
                <c:pt idx="5">
                  <c:v>0.61541470456003278</c:v>
                </c:pt>
                <c:pt idx="6">
                  <c:v>0.61247334766088457</c:v>
                </c:pt>
              </c:numCache>
            </c:numRef>
          </c:val>
          <c:extLst>
            <c:ext xmlns:c16="http://schemas.microsoft.com/office/drawing/2014/chart" uri="{C3380CC4-5D6E-409C-BE32-E72D297353CC}">
              <c16:uniqueId val="{00000000-19F6-4337-A645-B5DB10966C62}"/>
            </c:ext>
          </c:extLst>
        </c:ser>
        <c:dLbls>
          <c:showLegendKey val="0"/>
          <c:showVal val="0"/>
          <c:showCatName val="0"/>
          <c:showSerName val="0"/>
          <c:showPercent val="0"/>
          <c:showBubbleSize val="0"/>
        </c:dLbls>
        <c:gapWidth val="99"/>
        <c:overlap val="-27"/>
        <c:axId val="89944536"/>
        <c:axId val="89946504"/>
      </c:barChart>
      <c:catAx>
        <c:axId val="89944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89946504"/>
        <c:crosses val="autoZero"/>
        <c:auto val="1"/>
        <c:lblAlgn val="ctr"/>
        <c:lblOffset val="100"/>
        <c:noMultiLvlLbl val="0"/>
      </c:catAx>
      <c:valAx>
        <c:axId val="899465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944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Statistical</a:t>
            </a:r>
            <a:r>
              <a:rPr lang="en-AU" b="1" baseline="0" dirty="0"/>
              <a:t> Alarm Plot</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7636-44A5-B154-319A2C1CEF3B}"/>
            </c:ext>
          </c:extLst>
        </c:ser>
        <c:dLbls>
          <c:showLegendKey val="0"/>
          <c:showVal val="0"/>
          <c:showCatName val="0"/>
          <c:showSerName val="0"/>
          <c:showPercent val="0"/>
          <c:showBubbleSize val="0"/>
        </c:dLbls>
        <c:marker val="1"/>
        <c:smooth val="0"/>
        <c:axId val="478288888"/>
        <c:axId val="478289872"/>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7636-44A5-B154-319A2C1CEF3B}"/>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7636-44A5-B154-319A2C1CEF3B}"/>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7636-44A5-B154-319A2C1CEF3B}"/>
            </c:ext>
          </c:extLst>
        </c:ser>
        <c:dLbls>
          <c:showLegendKey val="0"/>
          <c:showVal val="0"/>
          <c:showCatName val="0"/>
          <c:showSerName val="0"/>
          <c:showPercent val="0"/>
          <c:showBubbleSize val="0"/>
        </c:dLbls>
        <c:marker val="1"/>
        <c:smooth val="0"/>
        <c:axId val="531816648"/>
        <c:axId val="531815664"/>
      </c:lineChart>
      <c:catAx>
        <c:axId val="4782888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9872"/>
        <c:crosses val="autoZero"/>
        <c:auto val="1"/>
        <c:lblAlgn val="ctr"/>
        <c:lblOffset val="100"/>
        <c:noMultiLvlLbl val="0"/>
      </c:catAx>
      <c:valAx>
        <c:axId val="478289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8888"/>
        <c:crosses val="autoZero"/>
        <c:crossBetween val="between"/>
      </c:valAx>
      <c:valAx>
        <c:axId val="5318156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16648"/>
        <c:crosses val="max"/>
        <c:crossBetween val="between"/>
      </c:valAx>
      <c:catAx>
        <c:axId val="531816648"/>
        <c:scaling>
          <c:orientation val="minMax"/>
        </c:scaling>
        <c:delete val="1"/>
        <c:axPos val="b"/>
        <c:majorTickMark val="out"/>
        <c:minorTickMark val="none"/>
        <c:tickLblPos val="nextTo"/>
        <c:crossAx val="5318156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Rolling Standard Deviation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 Repository Table'!$C$1</c:f>
              <c:strCache>
                <c:ptCount val="1"/>
                <c:pt idx="0">
                  <c:v>Volumetric Flow Meter 1</c:v>
                </c:pt>
              </c:strCache>
            </c:strRef>
          </c:tx>
          <c:spPr>
            <a:ln w="28575" cap="rnd">
              <a:solidFill>
                <a:schemeClr val="accent1"/>
              </a:solidFill>
              <a:round/>
            </a:ln>
            <a:effectLst/>
          </c:spPr>
          <c:marker>
            <c:symbol val="none"/>
          </c:marker>
          <c:val>
            <c:numRef>
              <c:f>'Data Repository Table'!$C$4908:$C$7360</c:f>
              <c:numCache>
                <c:formatCode>General</c:formatCode>
                <c:ptCount val="2453"/>
                <c:pt idx="0">
                  <c:v>1.049193648392877</c:v>
                </c:pt>
                <c:pt idx="1">
                  <c:v>1.0472425646655654</c:v>
                </c:pt>
                <c:pt idx="2">
                  <c:v>1.0464857730128385</c:v>
                </c:pt>
                <c:pt idx="3">
                  <c:v>1.058632512111225</c:v>
                </c:pt>
                <c:pt idx="4">
                  <c:v>1.0568352024612393</c:v>
                </c:pt>
                <c:pt idx="5">
                  <c:v>1.078864795658764</c:v>
                </c:pt>
                <c:pt idx="6">
                  <c:v>1.0884780733340618</c:v>
                </c:pt>
                <c:pt idx="7">
                  <c:v>1.0721867916221648</c:v>
                </c:pt>
                <c:pt idx="8">
                  <c:v>1.0575717774771261</c:v>
                </c:pt>
                <c:pt idx="9">
                  <c:v>1.0486555652947518</c:v>
                </c:pt>
                <c:pt idx="10">
                  <c:v>1.0267825308172114</c:v>
                </c:pt>
                <c:pt idx="11">
                  <c:v>1.0260162022657473</c:v>
                </c:pt>
                <c:pt idx="12">
                  <c:v>1.0086590693983617</c:v>
                </c:pt>
                <c:pt idx="13">
                  <c:v>1.0051997073283014</c:v>
                </c:pt>
                <c:pt idx="14">
                  <c:v>0.97692286265082984</c:v>
                </c:pt>
                <c:pt idx="15">
                  <c:v>1.0114496144547414</c:v>
                </c:pt>
                <c:pt idx="16">
                  <c:v>0.99165323023336016</c:v>
                </c:pt>
                <c:pt idx="17">
                  <c:v>0.9980539128239645</c:v>
                </c:pt>
                <c:pt idx="18">
                  <c:v>1.0066226936205183</c:v>
                </c:pt>
                <c:pt idx="19">
                  <c:v>0.99866093140463774</c:v>
                </c:pt>
                <c:pt idx="20">
                  <c:v>1.0660261853993032</c:v>
                </c:pt>
                <c:pt idx="21">
                  <c:v>1.0695940341313905</c:v>
                </c:pt>
                <c:pt idx="22">
                  <c:v>1.0582633369452901</c:v>
                </c:pt>
                <c:pt idx="23">
                  <c:v>1.0609727733577579</c:v>
                </c:pt>
                <c:pt idx="24">
                  <c:v>1.0772941012765094</c:v>
                </c:pt>
                <c:pt idx="25">
                  <c:v>1.1107233911343111</c:v>
                </c:pt>
                <c:pt idx="26">
                  <c:v>1.1111705539655017</c:v>
                </c:pt>
                <c:pt idx="27">
                  <c:v>1.100508093798555</c:v>
                </c:pt>
                <c:pt idx="28">
                  <c:v>1.092294123216317</c:v>
                </c:pt>
                <c:pt idx="29">
                  <c:v>1.1024146518058116</c:v>
                </c:pt>
                <c:pt idx="30">
                  <c:v>1.1389434832617973</c:v>
                </c:pt>
                <c:pt idx="31">
                  <c:v>1.1469694523966987</c:v>
                </c:pt>
                <c:pt idx="32">
                  <c:v>1.1406728819674441</c:v>
                </c:pt>
                <c:pt idx="33">
                  <c:v>1.1471848666538318</c:v>
                </c:pt>
                <c:pt idx="34">
                  <c:v>1.1868296976326449</c:v>
                </c:pt>
                <c:pt idx="35">
                  <c:v>1.2218397902827847</c:v>
                </c:pt>
                <c:pt idx="36">
                  <c:v>1.1706891638174366</c:v>
                </c:pt>
                <c:pt idx="37">
                  <c:v>1.2193245089247222</c:v>
                </c:pt>
                <c:pt idx="38">
                  <c:v>1.2257160294889822</c:v>
                </c:pt>
                <c:pt idx="39">
                  <c:v>1.2259960181661025</c:v>
                </c:pt>
                <c:pt idx="40">
                  <c:v>1.2333314443461258</c:v>
                </c:pt>
                <c:pt idx="41">
                  <c:v>1.2199230541573165</c:v>
                </c:pt>
                <c:pt idx="42">
                  <c:v>1.1631339755854821</c:v>
                </c:pt>
                <c:pt idx="43">
                  <c:v>1.165133524121702</c:v>
                </c:pt>
                <c:pt idx="44">
                  <c:v>1.1927832275635786</c:v>
                </c:pt>
                <c:pt idx="45">
                  <c:v>1.1930433659839352</c:v>
                </c:pt>
                <c:pt idx="46">
                  <c:v>1.1699536798109678</c:v>
                </c:pt>
                <c:pt idx="47">
                  <c:v>1.1559753132014463</c:v>
                </c:pt>
                <c:pt idx="48">
                  <c:v>1.151740711560838</c:v>
                </c:pt>
                <c:pt idx="49">
                  <c:v>1.1437785897478541</c:v>
                </c:pt>
                <c:pt idx="50">
                  <c:v>1.1495555008186269</c:v>
                </c:pt>
                <c:pt idx="51">
                  <c:v>1.0951066133594733</c:v>
                </c:pt>
                <c:pt idx="52">
                  <c:v>1.0733453882980277</c:v>
                </c:pt>
                <c:pt idx="53">
                  <c:v>1.0810833873122738</c:v>
                </c:pt>
                <c:pt idx="54">
                  <c:v>1.110686990739447</c:v>
                </c:pt>
                <c:pt idx="55">
                  <c:v>1.0945195833239205</c:v>
                </c:pt>
                <c:pt idx="56">
                  <c:v>1.0853708548109797</c:v>
                </c:pt>
                <c:pt idx="57">
                  <c:v>1.0838470907508266</c:v>
                </c:pt>
                <c:pt idx="58">
                  <c:v>1.1009816733993756</c:v>
                </c:pt>
                <c:pt idx="59">
                  <c:v>1.1076813912475592</c:v>
                </c:pt>
                <c:pt idx="60">
                  <c:v>1.1178340231115733</c:v>
                </c:pt>
                <c:pt idx="61">
                  <c:v>1.0750400842739298</c:v>
                </c:pt>
                <c:pt idx="62">
                  <c:v>1.0511858127387492</c:v>
                </c:pt>
                <c:pt idx="63">
                  <c:v>1.0694341786036159</c:v>
                </c:pt>
                <c:pt idx="64">
                  <c:v>1.0655983225147438</c:v>
                </c:pt>
                <c:pt idx="65">
                  <c:v>1.0307431289363329</c:v>
                </c:pt>
                <c:pt idx="66">
                  <c:v>1.005648562997066</c:v>
                </c:pt>
                <c:pt idx="67">
                  <c:v>1.0385710820512564</c:v>
                </c:pt>
                <c:pt idx="68">
                  <c:v>0.99309757612176475</c:v>
                </c:pt>
                <c:pt idx="69">
                  <c:v>1.0265219490239632</c:v>
                </c:pt>
                <c:pt idx="70">
                  <c:v>1.0754836871335249</c:v>
                </c:pt>
                <c:pt idx="71">
                  <c:v>1.0799578844834938</c:v>
                </c:pt>
                <c:pt idx="72">
                  <c:v>1.0807604849394017</c:v>
                </c:pt>
                <c:pt idx="73">
                  <c:v>1.0792571120814973</c:v>
                </c:pt>
                <c:pt idx="74">
                  <c:v>1.1182825734037409</c:v>
                </c:pt>
                <c:pt idx="75">
                  <c:v>1.0599512060183638</c:v>
                </c:pt>
                <c:pt idx="76">
                  <c:v>1.060289167293323</c:v>
                </c:pt>
                <c:pt idx="77">
                  <c:v>1.0519079439668872</c:v>
                </c:pt>
                <c:pt idx="78">
                  <c:v>1.0264630785434521</c:v>
                </c:pt>
                <c:pt idx="79">
                  <c:v>1.0284629935161773</c:v>
                </c:pt>
                <c:pt idx="80">
                  <c:v>1.0902513274420929</c:v>
                </c:pt>
                <c:pt idx="81">
                  <c:v>1.1101267001214674</c:v>
                </c:pt>
                <c:pt idx="82">
                  <c:v>1.1441706392024318</c:v>
                </c:pt>
                <c:pt idx="83">
                  <c:v>1.2034803472581335</c:v>
                </c:pt>
                <c:pt idx="84">
                  <c:v>1.2047434028317667</c:v>
                </c:pt>
                <c:pt idx="85">
                  <c:v>1.1847780972760025</c:v>
                </c:pt>
                <c:pt idx="86">
                  <c:v>1.1982806679320932</c:v>
                </c:pt>
                <c:pt idx="87">
                  <c:v>1.1869265451812561</c:v>
                </c:pt>
                <c:pt idx="88">
                  <c:v>1.1994219037627274</c:v>
                </c:pt>
                <c:pt idx="89">
                  <c:v>1.1755350188935927</c:v>
                </c:pt>
                <c:pt idx="90">
                  <c:v>1.2009856167385609</c:v>
                </c:pt>
                <c:pt idx="91">
                  <c:v>1.2127866250290942</c:v>
                </c:pt>
                <c:pt idx="92">
                  <c:v>1.2379100493665036</c:v>
                </c:pt>
                <c:pt idx="93">
                  <c:v>1.2288929365336769</c:v>
                </c:pt>
                <c:pt idx="94">
                  <c:v>1.2131429899144177</c:v>
                </c:pt>
                <c:pt idx="95">
                  <c:v>1.2442576056618302</c:v>
                </c:pt>
                <c:pt idx="96">
                  <c:v>1.2423186784898348</c:v>
                </c:pt>
                <c:pt idx="97">
                  <c:v>1.2330471042463549</c:v>
                </c:pt>
                <c:pt idx="98">
                  <c:v>1.2354078165198239</c:v>
                </c:pt>
                <c:pt idx="99">
                  <c:v>1.2639697662098062</c:v>
                </c:pt>
                <c:pt idx="100">
                  <c:v>1.2834091026368726</c:v>
                </c:pt>
                <c:pt idx="101">
                  <c:v>1.2802205791123638</c:v>
                </c:pt>
                <c:pt idx="102">
                  <c:v>1.2975380326744028</c:v>
                </c:pt>
                <c:pt idx="103">
                  <c:v>1.3404240221436592</c:v>
                </c:pt>
                <c:pt idx="104">
                  <c:v>1.3404240221436592</c:v>
                </c:pt>
                <c:pt idx="105">
                  <c:v>1.2976568627080636</c:v>
                </c:pt>
                <c:pt idx="106">
                  <c:v>1.3032190913273181</c:v>
                </c:pt>
                <c:pt idx="107">
                  <c:v>1.3071517916644622</c:v>
                </c:pt>
                <c:pt idx="108">
                  <c:v>1.2970432877597344</c:v>
                </c:pt>
                <c:pt idx="109">
                  <c:v>1.3006038299884581</c:v>
                </c:pt>
                <c:pt idx="110">
                  <c:v>1.3105963511695449</c:v>
                </c:pt>
                <c:pt idx="111">
                  <c:v>1.3124068016065848</c:v>
                </c:pt>
                <c:pt idx="112">
                  <c:v>1.2922810540206204</c:v>
                </c:pt>
                <c:pt idx="113">
                  <c:v>1.2572349760272488</c:v>
                </c:pt>
                <c:pt idx="114">
                  <c:v>1.2264324519270458</c:v>
                </c:pt>
                <c:pt idx="115">
                  <c:v>1.2024846141684427</c:v>
                </c:pt>
                <c:pt idx="116">
                  <c:v>1.1948128930767219</c:v>
                </c:pt>
                <c:pt idx="117">
                  <c:v>1.1952903997710964</c:v>
                </c:pt>
                <c:pt idx="118">
                  <c:v>1.201474363089488</c:v>
                </c:pt>
                <c:pt idx="119">
                  <c:v>1.1915276180249157</c:v>
                </c:pt>
                <c:pt idx="120">
                  <c:v>1.1821996993030655</c:v>
                </c:pt>
                <c:pt idx="121">
                  <c:v>1.1607982051667209</c:v>
                </c:pt>
                <c:pt idx="122">
                  <c:v>1.1284532186434078</c:v>
                </c:pt>
                <c:pt idx="123">
                  <c:v>1.1366410617366447</c:v>
                </c:pt>
                <c:pt idx="124">
                  <c:v>1.1158389485673037</c:v>
                </c:pt>
                <c:pt idx="125">
                  <c:v>1.1304770141714042</c:v>
                </c:pt>
                <c:pt idx="126">
                  <c:v>1.0745020352032444</c:v>
                </c:pt>
                <c:pt idx="127">
                  <c:v>1.0787980169106368</c:v>
                </c:pt>
                <c:pt idx="128">
                  <c:v>1.1538312058585103</c:v>
                </c:pt>
                <c:pt idx="129">
                  <c:v>1.0923032782212563</c:v>
                </c:pt>
                <c:pt idx="130">
                  <c:v>1.103563436357202</c:v>
                </c:pt>
                <c:pt idx="131">
                  <c:v>1.0930703525843724</c:v>
                </c:pt>
                <c:pt idx="132">
                  <c:v>1.0395963857003785</c:v>
                </c:pt>
                <c:pt idx="133">
                  <c:v>1.0829556330828174</c:v>
                </c:pt>
                <c:pt idx="134">
                  <c:v>1.0423512503145271</c:v>
                </c:pt>
                <c:pt idx="135">
                  <c:v>1.0937780042497858</c:v>
                </c:pt>
                <c:pt idx="136">
                  <c:v>1.1038393408112341</c:v>
                </c:pt>
                <c:pt idx="137">
                  <c:v>1.1042393382455777</c:v>
                </c:pt>
                <c:pt idx="138">
                  <c:v>1.1153130617931679</c:v>
                </c:pt>
                <c:pt idx="139">
                  <c:v>1.120864777509921</c:v>
                </c:pt>
                <c:pt idx="140">
                  <c:v>1.1344835403062514</c:v>
                </c:pt>
                <c:pt idx="141">
                  <c:v>1.1386098862728531</c:v>
                </c:pt>
                <c:pt idx="142">
                  <c:v>1.1039359690017865</c:v>
                </c:pt>
                <c:pt idx="143">
                  <c:v>1.110421987015437</c:v>
                </c:pt>
                <c:pt idx="144">
                  <c:v>1.126036344645396</c:v>
                </c:pt>
                <c:pt idx="145">
                  <c:v>1.1741612426136003</c:v>
                </c:pt>
                <c:pt idx="146">
                  <c:v>1.1704578646423909</c:v>
                </c:pt>
                <c:pt idx="147">
                  <c:v>1.2253420852180221</c:v>
                </c:pt>
                <c:pt idx="148">
                  <c:v>1.213373862019558</c:v>
                </c:pt>
                <c:pt idx="149">
                  <c:v>1.2189037027424026</c:v>
                </c:pt>
                <c:pt idx="150">
                  <c:v>1.2164532439118472</c:v>
                </c:pt>
                <c:pt idx="151">
                  <c:v>1.2069847795496493</c:v>
                </c:pt>
                <c:pt idx="152">
                  <c:v>1.2196555127955075</c:v>
                </c:pt>
                <c:pt idx="153">
                  <c:v>1.248576651997777</c:v>
                </c:pt>
                <c:pt idx="154">
                  <c:v>1.2343645790359079</c:v>
                </c:pt>
                <c:pt idx="155">
                  <c:v>1.250283924743943</c:v>
                </c:pt>
                <c:pt idx="156">
                  <c:v>1.2337891630763866</c:v>
                </c:pt>
                <c:pt idx="157">
                  <c:v>1.2399751991970058</c:v>
                </c:pt>
                <c:pt idx="158">
                  <c:v>1.2666564232749362</c:v>
                </c:pt>
                <c:pt idx="159">
                  <c:v>1.2346116014567545</c:v>
                </c:pt>
                <c:pt idx="160">
                  <c:v>1.2849116115369046</c:v>
                </c:pt>
                <c:pt idx="161">
                  <c:v>1.2987628521930241</c:v>
                </c:pt>
                <c:pt idx="162">
                  <c:v>1.2639862698315123</c:v>
                </c:pt>
                <c:pt idx="163">
                  <c:v>1.2867151642762644</c:v>
                </c:pt>
                <c:pt idx="164">
                  <c:v>1.2466698004675694</c:v>
                </c:pt>
                <c:pt idx="165">
                  <c:v>1.2543622806760397</c:v>
                </c:pt>
                <c:pt idx="166">
                  <c:v>1.2134988957112705</c:v>
                </c:pt>
                <c:pt idx="167">
                  <c:v>1.2072055174204279</c:v>
                </c:pt>
                <c:pt idx="168">
                  <c:v>1.2540012519072488</c:v>
                </c:pt>
                <c:pt idx="169">
                  <c:v>1.2789505946892223</c:v>
                </c:pt>
                <c:pt idx="170">
                  <c:v>1.3094842619359981</c:v>
                </c:pt>
                <c:pt idx="171">
                  <c:v>1.321738672461229</c:v>
                </c:pt>
                <c:pt idx="172">
                  <c:v>1.312895019920989</c:v>
                </c:pt>
                <c:pt idx="173">
                  <c:v>1.2765123015129858</c:v>
                </c:pt>
                <c:pt idx="174">
                  <c:v>1.2864539074191423</c:v>
                </c:pt>
                <c:pt idx="175">
                  <c:v>1.268654100141742</c:v>
                </c:pt>
                <c:pt idx="176">
                  <c:v>1.2770709935554274</c:v>
                </c:pt>
                <c:pt idx="177">
                  <c:v>1.2942970857714857</c:v>
                </c:pt>
                <c:pt idx="178">
                  <c:v>1.2516915865967109</c:v>
                </c:pt>
                <c:pt idx="179">
                  <c:v>1.2540382083321826</c:v>
                </c:pt>
                <c:pt idx="180">
                  <c:v>1.2675046181333023</c:v>
                </c:pt>
                <c:pt idx="181">
                  <c:v>1.2698184613286985</c:v>
                </c:pt>
                <c:pt idx="182">
                  <c:v>1.3137614879847213</c:v>
                </c:pt>
                <c:pt idx="183">
                  <c:v>1.3142402032459506</c:v>
                </c:pt>
                <c:pt idx="184">
                  <c:v>1.2995167008984452</c:v>
                </c:pt>
                <c:pt idx="185">
                  <c:v>1.3163863863925251</c:v>
                </c:pt>
                <c:pt idx="186">
                  <c:v>1.2933851558179887</c:v>
                </c:pt>
                <c:pt idx="187">
                  <c:v>1.2800351137656805</c:v>
                </c:pt>
                <c:pt idx="188">
                  <c:v>1.3011065596521654</c:v>
                </c:pt>
                <c:pt idx="189">
                  <c:v>1.2573854081052995</c:v>
                </c:pt>
                <c:pt idx="190">
                  <c:v>1.2389558559138527</c:v>
                </c:pt>
                <c:pt idx="191">
                  <c:v>1.1983994702613072</c:v>
                </c:pt>
                <c:pt idx="192">
                  <c:v>1.1598574254242757</c:v>
                </c:pt>
                <c:pt idx="193">
                  <c:v>1.1971423860481758</c:v>
                </c:pt>
                <c:pt idx="194">
                  <c:v>1.1798188306338735</c:v>
                </c:pt>
                <c:pt idx="195">
                  <c:v>1.1874393702688641</c:v>
                </c:pt>
                <c:pt idx="196">
                  <c:v>1.1789046310165461</c:v>
                </c:pt>
                <c:pt idx="197">
                  <c:v>1.1833465393780747</c:v>
                </c:pt>
                <c:pt idx="198">
                  <c:v>1.1787349698012093</c:v>
                </c:pt>
                <c:pt idx="199">
                  <c:v>1.1601858397669309</c:v>
                </c:pt>
                <c:pt idx="200">
                  <c:v>1.115141825205467</c:v>
                </c:pt>
                <c:pt idx="201">
                  <c:v>1.0778400344137091</c:v>
                </c:pt>
                <c:pt idx="202">
                  <c:v>1.1020191634264533</c:v>
                </c:pt>
                <c:pt idx="203">
                  <c:v>1.1059949055862759</c:v>
                </c:pt>
                <c:pt idx="204">
                  <c:v>1.1166883644176679</c:v>
                </c:pt>
                <c:pt idx="205">
                  <c:v>1.1182091096495439</c:v>
                </c:pt>
                <c:pt idx="206">
                  <c:v>1.0989622671029835</c:v>
                </c:pt>
                <c:pt idx="207">
                  <c:v>1.0558240933645302</c:v>
                </c:pt>
                <c:pt idx="208">
                  <c:v>1.0715191707726617</c:v>
                </c:pt>
                <c:pt idx="209">
                  <c:v>1.0801322101473732</c:v>
                </c:pt>
                <c:pt idx="210">
                  <c:v>1.0866945045580008</c:v>
                </c:pt>
                <c:pt idx="211">
                  <c:v>1.0322954899129531</c:v>
                </c:pt>
                <c:pt idx="212">
                  <c:v>1.0495833274639621</c:v>
                </c:pt>
                <c:pt idx="213">
                  <c:v>0.96734132926895444</c:v>
                </c:pt>
                <c:pt idx="214">
                  <c:v>0.96274395037231719</c:v>
                </c:pt>
                <c:pt idx="215">
                  <c:v>0.95649977938156849</c:v>
                </c:pt>
                <c:pt idx="216">
                  <c:v>0.93645740592847004</c:v>
                </c:pt>
                <c:pt idx="217">
                  <c:v>0.964993175083114</c:v>
                </c:pt>
                <c:pt idx="218">
                  <c:v>1.0310081713848662</c:v>
                </c:pt>
                <c:pt idx="219">
                  <c:v>0.97970524424002037</c:v>
                </c:pt>
                <c:pt idx="220">
                  <c:v>0.98404978456103709</c:v>
                </c:pt>
                <c:pt idx="221">
                  <c:v>0.98434695343216405</c:v>
                </c:pt>
                <c:pt idx="222">
                  <c:v>0.99535501852516217</c:v>
                </c:pt>
                <c:pt idx="223">
                  <c:v>1.0485824532626524</c:v>
                </c:pt>
                <c:pt idx="224">
                  <c:v>0.96140119516490929</c:v>
                </c:pt>
                <c:pt idx="225">
                  <c:v>0.95969932567389282</c:v>
                </c:pt>
                <c:pt idx="226">
                  <c:v>0.91350912679139806</c:v>
                </c:pt>
                <c:pt idx="227">
                  <c:v>0.96864432479470441</c:v>
                </c:pt>
                <c:pt idx="228">
                  <c:v>0.97603917601614698</c:v>
                </c:pt>
                <c:pt idx="229">
                  <c:v>0.98804509931458573</c:v>
                </c:pt>
                <c:pt idx="230">
                  <c:v>0.99075685199999797</c:v>
                </c:pt>
                <c:pt idx="231">
                  <c:v>0.97684526239659175</c:v>
                </c:pt>
                <c:pt idx="232">
                  <c:v>0.98030519715540232</c:v>
                </c:pt>
                <c:pt idx="233">
                  <c:v>0.98038680099738784</c:v>
                </c:pt>
                <c:pt idx="234">
                  <c:v>0.95007707666952068</c:v>
                </c:pt>
                <c:pt idx="235">
                  <c:v>0.95135986429838881</c:v>
                </c:pt>
                <c:pt idx="236">
                  <c:v>0.96267257913771209</c:v>
                </c:pt>
                <c:pt idx="237">
                  <c:v>0.9596856564207803</c:v>
                </c:pt>
                <c:pt idx="238">
                  <c:v>0.98852317348463192</c:v>
                </c:pt>
                <c:pt idx="239">
                  <c:v>0.97685582960227857</c:v>
                </c:pt>
                <c:pt idx="240">
                  <c:v>0.93383991628507235</c:v>
                </c:pt>
                <c:pt idx="241">
                  <c:v>0.89005557395658275</c:v>
                </c:pt>
                <c:pt idx="242">
                  <c:v>0.8076430596668035</c:v>
                </c:pt>
                <c:pt idx="243">
                  <c:v>0.8291913407470507</c:v>
                </c:pt>
                <c:pt idx="244">
                  <c:v>0.87522335091020842</c:v>
                </c:pt>
                <c:pt idx="245">
                  <c:v>0.8853148398120283</c:v>
                </c:pt>
                <c:pt idx="246">
                  <c:v>0.8995181505816352</c:v>
                </c:pt>
                <c:pt idx="247">
                  <c:v>0.87607776941577231</c:v>
                </c:pt>
                <c:pt idx="248">
                  <c:v>0.87194406449777628</c:v>
                </c:pt>
                <c:pt idx="249">
                  <c:v>0.87574680879708511</c:v>
                </c:pt>
                <c:pt idx="250">
                  <c:v>0.87770423901380057</c:v>
                </c:pt>
                <c:pt idx="251">
                  <c:v>0.85021148539200053</c:v>
                </c:pt>
                <c:pt idx="252">
                  <c:v>0.84333771089857867</c:v>
                </c:pt>
                <c:pt idx="253">
                  <c:v>0.85880862714839745</c:v>
                </c:pt>
                <c:pt idx="254">
                  <c:v>0.8621421183645207</c:v>
                </c:pt>
                <c:pt idx="255">
                  <c:v>0.86222854540784466</c:v>
                </c:pt>
                <c:pt idx="256">
                  <c:v>0.88873608453634156</c:v>
                </c:pt>
                <c:pt idx="257">
                  <c:v>0.88196554683641115</c:v>
                </c:pt>
                <c:pt idx="258">
                  <c:v>0.92789761207507271</c:v>
                </c:pt>
                <c:pt idx="259">
                  <c:v>0.93734858275424737</c:v>
                </c:pt>
                <c:pt idx="260">
                  <c:v>0.93335768017399601</c:v>
                </c:pt>
                <c:pt idx="261">
                  <c:v>1.0135789883336157</c:v>
                </c:pt>
                <c:pt idx="262">
                  <c:v>1.0034458908750272</c:v>
                </c:pt>
                <c:pt idx="263">
                  <c:v>1.1459884215669851</c:v>
                </c:pt>
                <c:pt idx="264">
                  <c:v>1.1568540953160262</c:v>
                </c:pt>
                <c:pt idx="265">
                  <c:v>1.162279647285722</c:v>
                </c:pt>
                <c:pt idx="266">
                  <c:v>1.190463630655711</c:v>
                </c:pt>
                <c:pt idx="267">
                  <c:v>1.1861951461421438</c:v>
                </c:pt>
                <c:pt idx="268">
                  <c:v>1.1891344100484558</c:v>
                </c:pt>
                <c:pt idx="269">
                  <c:v>1.1701821381986393</c:v>
                </c:pt>
                <c:pt idx="270">
                  <c:v>1.1727463402179619</c:v>
                </c:pt>
                <c:pt idx="271">
                  <c:v>1.1880509927146738</c:v>
                </c:pt>
                <c:pt idx="272">
                  <c:v>1.2903476234128968</c:v>
                </c:pt>
                <c:pt idx="273">
                  <c:v>1.2900961037803527</c:v>
                </c:pt>
                <c:pt idx="274">
                  <c:v>1.2905126096628907</c:v>
                </c:pt>
                <c:pt idx="275">
                  <c:v>1.2302190555877366</c:v>
                </c:pt>
                <c:pt idx="276">
                  <c:v>1.20464298909793</c:v>
                </c:pt>
                <c:pt idx="277">
                  <c:v>1.1333452244790472</c:v>
                </c:pt>
                <c:pt idx="278">
                  <c:v>1.1259211760259489</c:v>
                </c:pt>
                <c:pt idx="279">
                  <c:v>1.119575956592783</c:v>
                </c:pt>
                <c:pt idx="280">
                  <c:v>1.1039366508238861</c:v>
                </c:pt>
                <c:pt idx="281">
                  <c:v>1.099720785677716</c:v>
                </c:pt>
                <c:pt idx="282">
                  <c:v>1.0992904847639104</c:v>
                </c:pt>
                <c:pt idx="283">
                  <c:v>1.0768251822456048</c:v>
                </c:pt>
                <c:pt idx="284">
                  <c:v>1.1189678423699516</c:v>
                </c:pt>
                <c:pt idx="285">
                  <c:v>1.1200847702174681</c:v>
                </c:pt>
                <c:pt idx="286">
                  <c:v>1.1417500244272252</c:v>
                </c:pt>
                <c:pt idx="287">
                  <c:v>1.1750726355952346</c:v>
                </c:pt>
                <c:pt idx="288">
                  <c:v>1.1636305809973619</c:v>
                </c:pt>
                <c:pt idx="289">
                  <c:v>1.15623006230994</c:v>
                </c:pt>
                <c:pt idx="290">
                  <c:v>1.1700295005930683</c:v>
                </c:pt>
                <c:pt idx="291">
                  <c:v>1.1475927118355467</c:v>
                </c:pt>
                <c:pt idx="292">
                  <c:v>1.1571394094504024</c:v>
                </c:pt>
                <c:pt idx="293">
                  <c:v>1.1750783089896879</c:v>
                </c:pt>
                <c:pt idx="294">
                  <c:v>1.1327471602402091</c:v>
                </c:pt>
                <c:pt idx="295">
                  <c:v>1.1947462051095434</c:v>
                </c:pt>
                <c:pt idx="296">
                  <c:v>1.1938083994610089</c:v>
                </c:pt>
                <c:pt idx="297">
                  <c:v>1.2309426408026642</c:v>
                </c:pt>
                <c:pt idx="298">
                  <c:v>1.2325296131581696</c:v>
                </c:pt>
                <c:pt idx="299">
                  <c:v>1.2277570247520297</c:v>
                </c:pt>
                <c:pt idx="300">
                  <c:v>1.2485042233404435</c:v>
                </c:pt>
                <c:pt idx="301">
                  <c:v>1.2458163968352862</c:v>
                </c:pt>
                <c:pt idx="302">
                  <c:v>1.226472956888367</c:v>
                </c:pt>
                <c:pt idx="303">
                  <c:v>1.2027135090894405</c:v>
                </c:pt>
                <c:pt idx="304">
                  <c:v>1.1738474557890239</c:v>
                </c:pt>
                <c:pt idx="305">
                  <c:v>1.1711402402639877</c:v>
                </c:pt>
                <c:pt idx="306">
                  <c:v>1.1633668233155854</c:v>
                </c:pt>
                <c:pt idx="307">
                  <c:v>1.1473382004607702</c:v>
                </c:pt>
                <c:pt idx="308">
                  <c:v>1.1452447735736879</c:v>
                </c:pt>
                <c:pt idx="309">
                  <c:v>1.1445432013624235</c:v>
                </c:pt>
                <c:pt idx="310">
                  <c:v>1.1828853915161708</c:v>
                </c:pt>
                <c:pt idx="311">
                  <c:v>1.1647357907978919</c:v>
                </c:pt>
                <c:pt idx="312">
                  <c:v>1.182071263976195</c:v>
                </c:pt>
                <c:pt idx="313">
                  <c:v>1.2171682277416114</c:v>
                </c:pt>
                <c:pt idx="314">
                  <c:v>1.2101073443898422</c:v>
                </c:pt>
                <c:pt idx="315">
                  <c:v>1.2067210526566328</c:v>
                </c:pt>
                <c:pt idx="316">
                  <c:v>1.2311614413323935</c:v>
                </c:pt>
                <c:pt idx="317">
                  <c:v>1.1950696205031166</c:v>
                </c:pt>
                <c:pt idx="318">
                  <c:v>1.2041674052161297</c:v>
                </c:pt>
                <c:pt idx="319">
                  <c:v>1.1741334026897579</c:v>
                </c:pt>
                <c:pt idx="320">
                  <c:v>1.1782242881210181</c:v>
                </c:pt>
                <c:pt idx="321">
                  <c:v>1.193035885317753</c:v>
                </c:pt>
                <c:pt idx="322">
                  <c:v>1.2403674446910733</c:v>
                </c:pt>
                <c:pt idx="323">
                  <c:v>1.2472624647258406</c:v>
                </c:pt>
                <c:pt idx="324">
                  <c:v>1.2339463748129329</c:v>
                </c:pt>
                <c:pt idx="325">
                  <c:v>1.2537333495715735</c:v>
                </c:pt>
                <c:pt idx="326">
                  <c:v>1.1959539315757999</c:v>
                </c:pt>
                <c:pt idx="327">
                  <c:v>1.158761853125164</c:v>
                </c:pt>
                <c:pt idx="328">
                  <c:v>1.1348138969210593</c:v>
                </c:pt>
                <c:pt idx="329">
                  <c:v>1.088615871705457</c:v>
                </c:pt>
                <c:pt idx="330">
                  <c:v>1.1092546175029485</c:v>
                </c:pt>
                <c:pt idx="331">
                  <c:v>1.1469443274730384</c:v>
                </c:pt>
                <c:pt idx="332">
                  <c:v>1.148202896910262</c:v>
                </c:pt>
                <c:pt idx="333">
                  <c:v>1.1197797402465657</c:v>
                </c:pt>
                <c:pt idx="334">
                  <c:v>1.1419103028631215</c:v>
                </c:pt>
                <c:pt idx="335">
                  <c:v>1.1880771489377095</c:v>
                </c:pt>
                <c:pt idx="336">
                  <c:v>1.2070229973488624</c:v>
                </c:pt>
                <c:pt idx="337">
                  <c:v>1.2048662086078938</c:v>
                </c:pt>
                <c:pt idx="338">
                  <c:v>1.2208244173772556</c:v>
                </c:pt>
                <c:pt idx="339">
                  <c:v>1.2231646773664566</c:v>
                </c:pt>
                <c:pt idx="340">
                  <c:v>1.244730225122429</c:v>
                </c:pt>
                <c:pt idx="341">
                  <c:v>1.2672489041014143</c:v>
                </c:pt>
                <c:pt idx="342">
                  <c:v>1.3073604697440799</c:v>
                </c:pt>
                <c:pt idx="343">
                  <c:v>1.299095963576457</c:v>
                </c:pt>
                <c:pt idx="344">
                  <c:v>1.3001200937084676</c:v>
                </c:pt>
                <c:pt idx="345">
                  <c:v>1.3008575335449473</c:v>
                </c:pt>
                <c:pt idx="346">
                  <c:v>1.3287260452124074</c:v>
                </c:pt>
                <c:pt idx="347">
                  <c:v>1.3552385815431998</c:v>
                </c:pt>
                <c:pt idx="348">
                  <c:v>1.372985914924346</c:v>
                </c:pt>
                <c:pt idx="349">
                  <c:v>1.3365446542870254</c:v>
                </c:pt>
                <c:pt idx="350">
                  <c:v>1.3509817218982736</c:v>
                </c:pt>
                <c:pt idx="351">
                  <c:v>1.3501145311831237</c:v>
                </c:pt>
                <c:pt idx="352">
                  <c:v>1.3406831030469868</c:v>
                </c:pt>
                <c:pt idx="353">
                  <c:v>1.3109755868235347</c:v>
                </c:pt>
                <c:pt idx="354">
                  <c:v>1.3056408635287606</c:v>
                </c:pt>
                <c:pt idx="355">
                  <c:v>1.3033299782703009</c:v>
                </c:pt>
                <c:pt idx="356">
                  <c:v>1.2627044708264716</c:v>
                </c:pt>
                <c:pt idx="357">
                  <c:v>1.2996316268817856</c:v>
                </c:pt>
                <c:pt idx="358">
                  <c:v>1.3050596327989341</c:v>
                </c:pt>
                <c:pt idx="359">
                  <c:v>1.3020108517460653</c:v>
                </c:pt>
                <c:pt idx="360">
                  <c:v>1.3151783067305447</c:v>
                </c:pt>
                <c:pt idx="361">
                  <c:v>1.3082531240395103</c:v>
                </c:pt>
                <c:pt idx="362">
                  <c:v>1.2757440165248373</c:v>
                </c:pt>
                <c:pt idx="363">
                  <c:v>1.3160531577328072</c:v>
                </c:pt>
                <c:pt idx="364">
                  <c:v>1.3005144556914254</c:v>
                </c:pt>
                <c:pt idx="365">
                  <c:v>1.3098154675906772</c:v>
                </c:pt>
                <c:pt idx="366">
                  <c:v>1.2611402077706952</c:v>
                </c:pt>
                <c:pt idx="367">
                  <c:v>1.258580442873158</c:v>
                </c:pt>
                <c:pt idx="368">
                  <c:v>1.2826405056237176</c:v>
                </c:pt>
                <c:pt idx="369">
                  <c:v>1.2736084542054733</c:v>
                </c:pt>
                <c:pt idx="370">
                  <c:v>1.2575101701206983</c:v>
                </c:pt>
                <c:pt idx="371">
                  <c:v>1.2495316111694923</c:v>
                </c:pt>
                <c:pt idx="372">
                  <c:v>1.2086562342010723</c:v>
                </c:pt>
                <c:pt idx="373">
                  <c:v>1.1571999947964866</c:v>
                </c:pt>
                <c:pt idx="374">
                  <c:v>1.16084794740278</c:v>
                </c:pt>
                <c:pt idx="375">
                  <c:v>1.1382324535346768</c:v>
                </c:pt>
                <c:pt idx="376">
                  <c:v>1.1442777691204291</c:v>
                </c:pt>
                <c:pt idx="377">
                  <c:v>1.1008386832100394</c:v>
                </c:pt>
                <c:pt idx="378">
                  <c:v>1.0700340663856485</c:v>
                </c:pt>
                <c:pt idx="379">
                  <c:v>1.0504974755974235</c:v>
                </c:pt>
                <c:pt idx="380">
                  <c:v>1.0518679748709623</c:v>
                </c:pt>
                <c:pt idx="381">
                  <c:v>1.058715188075795</c:v>
                </c:pt>
                <c:pt idx="382">
                  <c:v>1.0633530857369233</c:v>
                </c:pt>
                <c:pt idx="383">
                  <c:v>1.0610993487685259</c:v>
                </c:pt>
                <c:pt idx="384">
                  <c:v>1.0619241007242113</c:v>
                </c:pt>
                <c:pt idx="385">
                  <c:v>1.0405781064864499</c:v>
                </c:pt>
                <c:pt idx="386">
                  <c:v>1.0443975471816949</c:v>
                </c:pt>
                <c:pt idx="387">
                  <c:v>1.1054320422350712</c:v>
                </c:pt>
                <c:pt idx="388">
                  <c:v>1.0802027886078283</c:v>
                </c:pt>
                <c:pt idx="389">
                  <c:v>1.0714692956930234</c:v>
                </c:pt>
                <c:pt idx="390">
                  <c:v>1.0841632222470554</c:v>
                </c:pt>
                <c:pt idx="391">
                  <c:v>1.0631994724789744</c:v>
                </c:pt>
                <c:pt idx="392">
                  <c:v>1.0477844521009634</c:v>
                </c:pt>
                <c:pt idx="393">
                  <c:v>1.0181022827125552</c:v>
                </c:pt>
                <c:pt idx="394">
                  <c:v>0.99363598622346561</c:v>
                </c:pt>
                <c:pt idx="395">
                  <c:v>1.0116698641249002</c:v>
                </c:pt>
                <c:pt idx="396">
                  <c:v>0.94983326210785612</c:v>
                </c:pt>
                <c:pt idx="397">
                  <c:v>0.94397375578609333</c:v>
                </c:pt>
                <c:pt idx="398">
                  <c:v>0.96067986678789752</c:v>
                </c:pt>
                <c:pt idx="399">
                  <c:v>0.98406617488822312</c:v>
                </c:pt>
                <c:pt idx="400">
                  <c:v>0.99931438862443445</c:v>
                </c:pt>
                <c:pt idx="401">
                  <c:v>1.0047870367631695</c:v>
                </c:pt>
                <c:pt idx="402">
                  <c:v>1.008158333698854</c:v>
                </c:pt>
                <c:pt idx="403">
                  <c:v>1.0187377811128164</c:v>
                </c:pt>
                <c:pt idx="404">
                  <c:v>1.0620525876456073</c:v>
                </c:pt>
                <c:pt idx="405">
                  <c:v>1.0408183298246259</c:v>
                </c:pt>
                <c:pt idx="406">
                  <c:v>1.0606353340465118</c:v>
                </c:pt>
                <c:pt idx="407">
                  <c:v>1.1246080320744867</c:v>
                </c:pt>
                <c:pt idx="408">
                  <c:v>1.1235959936690971</c:v>
                </c:pt>
                <c:pt idx="409">
                  <c:v>1.1736924548171137</c:v>
                </c:pt>
                <c:pt idx="410">
                  <c:v>1.1588636443674287</c:v>
                </c:pt>
                <c:pt idx="411">
                  <c:v>1.185109132491172</c:v>
                </c:pt>
                <c:pt idx="412">
                  <c:v>1.1687919505437712</c:v>
                </c:pt>
                <c:pt idx="413">
                  <c:v>1.1999332418706616</c:v>
                </c:pt>
                <c:pt idx="414">
                  <c:v>1.2059856095006192</c:v>
                </c:pt>
                <c:pt idx="415">
                  <c:v>1.2366106122994467</c:v>
                </c:pt>
                <c:pt idx="416">
                  <c:v>1.2404820429674628</c:v>
                </c:pt>
                <c:pt idx="417">
                  <c:v>1.2676880997625437</c:v>
                </c:pt>
                <c:pt idx="418">
                  <c:v>1.2317190539879574</c:v>
                </c:pt>
                <c:pt idx="419">
                  <c:v>1.237050515740818</c:v>
                </c:pt>
                <c:pt idx="420">
                  <c:v>1.2369364688442932</c:v>
                </c:pt>
                <c:pt idx="421">
                  <c:v>1.2609802467904476</c:v>
                </c:pt>
                <c:pt idx="422">
                  <c:v>1.3184734574744066</c:v>
                </c:pt>
                <c:pt idx="423">
                  <c:v>1.3163546111764834</c:v>
                </c:pt>
                <c:pt idx="424">
                  <c:v>1.345819093436434</c:v>
                </c:pt>
                <c:pt idx="425">
                  <c:v>1.3388527427117094</c:v>
                </c:pt>
                <c:pt idx="426">
                  <c:v>1.3415164745961576</c:v>
                </c:pt>
                <c:pt idx="427">
                  <c:v>1.3692513455577935</c:v>
                </c:pt>
                <c:pt idx="428">
                  <c:v>1.4114725019127767</c:v>
                </c:pt>
                <c:pt idx="429">
                  <c:v>1.4218980197238564</c:v>
                </c:pt>
                <c:pt idx="430">
                  <c:v>1.4016245566661079</c:v>
                </c:pt>
                <c:pt idx="431">
                  <c:v>1.4143749711939142</c:v>
                </c:pt>
                <c:pt idx="432">
                  <c:v>1.4136141433349345</c:v>
                </c:pt>
                <c:pt idx="433">
                  <c:v>1.3921690355901166</c:v>
                </c:pt>
                <c:pt idx="434">
                  <c:v>1.3925462097311387</c:v>
                </c:pt>
                <c:pt idx="435">
                  <c:v>1.3553930509563068</c:v>
                </c:pt>
                <c:pt idx="436">
                  <c:v>1.3138893261193361</c:v>
                </c:pt>
                <c:pt idx="437">
                  <c:v>1.340200033216034</c:v>
                </c:pt>
                <c:pt idx="438">
                  <c:v>1.2943278240573495</c:v>
                </c:pt>
                <c:pt idx="439">
                  <c:v>1.2927757084111942</c:v>
                </c:pt>
                <c:pt idx="440">
                  <c:v>1.252682712619051</c:v>
                </c:pt>
                <c:pt idx="441">
                  <c:v>1.2601163114092166</c:v>
                </c:pt>
                <c:pt idx="442">
                  <c:v>1.2558575872963831</c:v>
                </c:pt>
                <c:pt idx="443">
                  <c:v>1.2601791133999412</c:v>
                </c:pt>
                <c:pt idx="444">
                  <c:v>1.2543039881239537</c:v>
                </c:pt>
                <c:pt idx="445">
                  <c:v>1.2872477099092723</c:v>
                </c:pt>
                <c:pt idx="446">
                  <c:v>1.2530799045997936</c:v>
                </c:pt>
                <c:pt idx="447">
                  <c:v>1.242614742327429</c:v>
                </c:pt>
                <c:pt idx="448">
                  <c:v>1.2372366886153652</c:v>
                </c:pt>
                <c:pt idx="449">
                  <c:v>1.2453590405119908</c:v>
                </c:pt>
                <c:pt idx="450">
                  <c:v>1.2125015463907667</c:v>
                </c:pt>
                <c:pt idx="451">
                  <c:v>1.2149453724610486</c:v>
                </c:pt>
                <c:pt idx="452">
                  <c:v>1.1794585964098787</c:v>
                </c:pt>
                <c:pt idx="453">
                  <c:v>1.1527784108475181</c:v>
                </c:pt>
                <c:pt idx="454">
                  <c:v>1.1602670252543046</c:v>
                </c:pt>
                <c:pt idx="455">
                  <c:v>1.1458597748659798</c:v>
                </c:pt>
                <c:pt idx="456">
                  <c:v>1.148450381849339</c:v>
                </c:pt>
                <c:pt idx="457">
                  <c:v>1.1416586688362824</c:v>
                </c:pt>
                <c:pt idx="458">
                  <c:v>1.14036213829275</c:v>
                </c:pt>
                <c:pt idx="459">
                  <c:v>1.1595627652057534</c:v>
                </c:pt>
                <c:pt idx="460">
                  <c:v>1.1539668842269579</c:v>
                </c:pt>
                <c:pt idx="461">
                  <c:v>1.1550465242224142</c:v>
                </c:pt>
                <c:pt idx="462">
                  <c:v>1.178434262836904</c:v>
                </c:pt>
                <c:pt idx="463">
                  <c:v>1.1726492385019232</c:v>
                </c:pt>
                <c:pt idx="464">
                  <c:v>1.2035679930849335</c:v>
                </c:pt>
                <c:pt idx="465">
                  <c:v>1.1810035827065011</c:v>
                </c:pt>
                <c:pt idx="466">
                  <c:v>1.1764855628395501</c:v>
                </c:pt>
                <c:pt idx="467">
                  <c:v>1.176984391597661</c:v>
                </c:pt>
                <c:pt idx="468">
                  <c:v>1.1336253576966704</c:v>
                </c:pt>
                <c:pt idx="469">
                  <c:v>1.1721077421209134</c:v>
                </c:pt>
                <c:pt idx="470">
                  <c:v>1.2137201321308739</c:v>
                </c:pt>
                <c:pt idx="471">
                  <c:v>1.2335800683158908</c:v>
                </c:pt>
                <c:pt idx="472">
                  <c:v>1.2363885146424589</c:v>
                </c:pt>
                <c:pt idx="473">
                  <c:v>1.235547068767429</c:v>
                </c:pt>
                <c:pt idx="474">
                  <c:v>1.2354227868894083</c:v>
                </c:pt>
                <c:pt idx="475">
                  <c:v>1.2257517333571091</c:v>
                </c:pt>
                <c:pt idx="476">
                  <c:v>1.1864562759004886</c:v>
                </c:pt>
                <c:pt idx="477">
                  <c:v>1.198523733509248</c:v>
                </c:pt>
                <c:pt idx="478">
                  <c:v>1.2071314081570159</c:v>
                </c:pt>
                <c:pt idx="479">
                  <c:v>1.2081334576994809</c:v>
                </c:pt>
                <c:pt idx="480">
                  <c:v>1.1924375504939273</c:v>
                </c:pt>
                <c:pt idx="481">
                  <c:v>1.2078678450819011</c:v>
                </c:pt>
                <c:pt idx="482">
                  <c:v>1.2623360321501229</c:v>
                </c:pt>
                <c:pt idx="483">
                  <c:v>1.2593129207063927</c:v>
                </c:pt>
                <c:pt idx="484">
                  <c:v>1.2353993738476745</c:v>
                </c:pt>
                <c:pt idx="485">
                  <c:v>1.2362750155117164</c:v>
                </c:pt>
                <c:pt idx="486">
                  <c:v>1.2795174661709623</c:v>
                </c:pt>
                <c:pt idx="487">
                  <c:v>1.3048057573892482</c:v>
                </c:pt>
                <c:pt idx="488">
                  <c:v>1.2844965542380653</c:v>
                </c:pt>
                <c:pt idx="489">
                  <c:v>1.2406111050520603</c:v>
                </c:pt>
                <c:pt idx="490">
                  <c:v>1.2005426192539612</c:v>
                </c:pt>
                <c:pt idx="491">
                  <c:v>1.1903120581170825</c:v>
                </c:pt>
                <c:pt idx="492">
                  <c:v>1.1993077752541033</c:v>
                </c:pt>
                <c:pt idx="493">
                  <c:v>1.1929988418096389</c:v>
                </c:pt>
                <c:pt idx="494">
                  <c:v>1.1923269920260879</c:v>
                </c:pt>
                <c:pt idx="495">
                  <c:v>1.2096304420985826</c:v>
                </c:pt>
                <c:pt idx="496">
                  <c:v>1.2106162120602983</c:v>
                </c:pt>
                <c:pt idx="497">
                  <c:v>1.2446700992286983</c:v>
                </c:pt>
                <c:pt idx="498">
                  <c:v>1.2771420547288344</c:v>
                </c:pt>
                <c:pt idx="499">
                  <c:v>1.3206835147894285</c:v>
                </c:pt>
                <c:pt idx="500">
                  <c:v>1.3116756909692158</c:v>
                </c:pt>
                <c:pt idx="501">
                  <c:v>1.2731686827061273</c:v>
                </c:pt>
                <c:pt idx="502">
                  <c:v>1.2722823450757297</c:v>
                </c:pt>
                <c:pt idx="503">
                  <c:v>1.2639045152446895</c:v>
                </c:pt>
                <c:pt idx="504">
                  <c:v>1.2304983691818285</c:v>
                </c:pt>
                <c:pt idx="505">
                  <c:v>1.2294895347781665</c:v>
                </c:pt>
                <c:pt idx="506">
                  <c:v>1.2460489815878542</c:v>
                </c:pt>
                <c:pt idx="507">
                  <c:v>1.2731854893622456</c:v>
                </c:pt>
                <c:pt idx="508">
                  <c:v>1.2676554431629459</c:v>
                </c:pt>
                <c:pt idx="509">
                  <c:v>1.2689020738883987</c:v>
                </c:pt>
                <c:pt idx="510">
                  <c:v>1.2524919676517923</c:v>
                </c:pt>
                <c:pt idx="511">
                  <c:v>1.2540455823376777</c:v>
                </c:pt>
                <c:pt idx="512">
                  <c:v>1.2783113020490107</c:v>
                </c:pt>
                <c:pt idx="513">
                  <c:v>1.2274508947101435</c:v>
                </c:pt>
                <c:pt idx="514">
                  <c:v>1.2283308019991133</c:v>
                </c:pt>
                <c:pt idx="515">
                  <c:v>1.2359771720757928</c:v>
                </c:pt>
                <c:pt idx="516">
                  <c:v>1.2100654030133633</c:v>
                </c:pt>
                <c:pt idx="517">
                  <c:v>1.1530381560240373</c:v>
                </c:pt>
                <c:pt idx="518">
                  <c:v>1.1248506710928632</c:v>
                </c:pt>
                <c:pt idx="519">
                  <c:v>1.1093101605313387</c:v>
                </c:pt>
                <c:pt idx="520">
                  <c:v>1.1285015281003088</c:v>
                </c:pt>
                <c:pt idx="521">
                  <c:v>1.1274565532959098</c:v>
                </c:pt>
                <c:pt idx="522">
                  <c:v>1.139882091619874</c:v>
                </c:pt>
                <c:pt idx="523">
                  <c:v>1.138367251812876</c:v>
                </c:pt>
                <c:pt idx="524">
                  <c:v>1.146283194193443</c:v>
                </c:pt>
                <c:pt idx="525">
                  <c:v>1.2075219448572472</c:v>
                </c:pt>
                <c:pt idx="526">
                  <c:v>1.147076695882433</c:v>
                </c:pt>
                <c:pt idx="527">
                  <c:v>1.1473904942244202</c:v>
                </c:pt>
                <c:pt idx="528">
                  <c:v>1.0887414061485705</c:v>
                </c:pt>
                <c:pt idx="529">
                  <c:v>1.0757477019634158</c:v>
                </c:pt>
                <c:pt idx="530">
                  <c:v>1.0802993412321731</c:v>
                </c:pt>
                <c:pt idx="531">
                  <c:v>1.0632816922101347</c:v>
                </c:pt>
                <c:pt idx="532">
                  <c:v>1.0637376788768771</c:v>
                </c:pt>
                <c:pt idx="533">
                  <c:v>1.0451597603865082</c:v>
                </c:pt>
                <c:pt idx="534">
                  <c:v>1.0289695231492004</c:v>
                </c:pt>
                <c:pt idx="535">
                  <c:v>1.0556274187950161</c:v>
                </c:pt>
                <c:pt idx="536">
                  <c:v>1.0494211410024084</c:v>
                </c:pt>
                <c:pt idx="537">
                  <c:v>1.0071236589992956</c:v>
                </c:pt>
                <c:pt idx="538">
                  <c:v>0.99533481695832515</c:v>
                </c:pt>
                <c:pt idx="539">
                  <c:v>1.0525712501104805</c:v>
                </c:pt>
                <c:pt idx="540">
                  <c:v>1.045875051646187</c:v>
                </c:pt>
                <c:pt idx="541">
                  <c:v>1.0860359011076126</c:v>
                </c:pt>
                <c:pt idx="542">
                  <c:v>1.1380708067999648</c:v>
                </c:pt>
                <c:pt idx="543">
                  <c:v>1.1042255107063152</c:v>
                </c:pt>
                <c:pt idx="544">
                  <c:v>1.0904466875985379</c:v>
                </c:pt>
                <c:pt idx="545">
                  <c:v>1.0958951758992004</c:v>
                </c:pt>
                <c:pt idx="546">
                  <c:v>1.1115686871428863</c:v>
                </c:pt>
                <c:pt idx="547">
                  <c:v>1.1438208935664445</c:v>
                </c:pt>
                <c:pt idx="548">
                  <c:v>1.1592978037801427</c:v>
                </c:pt>
                <c:pt idx="549">
                  <c:v>1.1697148811679732</c:v>
                </c:pt>
                <c:pt idx="550">
                  <c:v>1.2238816268574095</c:v>
                </c:pt>
                <c:pt idx="551">
                  <c:v>1.215339945363312</c:v>
                </c:pt>
                <c:pt idx="552">
                  <c:v>1.2266184831583966</c:v>
                </c:pt>
                <c:pt idx="553">
                  <c:v>1.2328441633810798</c:v>
                </c:pt>
                <c:pt idx="554">
                  <c:v>1.2308277658743776</c:v>
                </c:pt>
                <c:pt idx="555">
                  <c:v>1.1997387708495417</c:v>
                </c:pt>
                <c:pt idx="556">
                  <c:v>1.2044707935326275</c:v>
                </c:pt>
                <c:pt idx="557">
                  <c:v>1.236715299162582</c:v>
                </c:pt>
                <c:pt idx="558">
                  <c:v>1.2391972774635676</c:v>
                </c:pt>
                <c:pt idx="559">
                  <c:v>1.2347534689290236</c:v>
                </c:pt>
                <c:pt idx="560">
                  <c:v>1.2123304670304722</c:v>
                </c:pt>
                <c:pt idx="561">
                  <c:v>1.2335255008674617</c:v>
                </c:pt>
                <c:pt idx="562">
                  <c:v>1.2410242907866791</c:v>
                </c:pt>
                <c:pt idx="563">
                  <c:v>1.2452736452735609</c:v>
                </c:pt>
                <c:pt idx="564">
                  <c:v>1.2387196824192723</c:v>
                </c:pt>
                <c:pt idx="565">
                  <c:v>1.2387889507563947</c:v>
                </c:pt>
                <c:pt idx="566">
                  <c:v>1.1958790351313406</c:v>
                </c:pt>
                <c:pt idx="567">
                  <c:v>1.2630195087843621</c:v>
                </c:pt>
                <c:pt idx="568">
                  <c:v>1.247872770603198</c:v>
                </c:pt>
                <c:pt idx="569">
                  <c:v>1.2205602450628792</c:v>
                </c:pt>
                <c:pt idx="570">
                  <c:v>1.1982146216642038</c:v>
                </c:pt>
                <c:pt idx="571">
                  <c:v>1.1663515396219499</c:v>
                </c:pt>
                <c:pt idx="572">
                  <c:v>1.1369364609022929</c:v>
                </c:pt>
                <c:pt idx="573">
                  <c:v>1.1039617805446098</c:v>
                </c:pt>
                <c:pt idx="574">
                  <c:v>1.1222678652132572</c:v>
                </c:pt>
                <c:pt idx="575">
                  <c:v>1.173384957319854</c:v>
                </c:pt>
                <c:pt idx="576">
                  <c:v>1.1836084792945951</c:v>
                </c:pt>
                <c:pt idx="577">
                  <c:v>1.1605905059841928</c:v>
                </c:pt>
                <c:pt idx="578">
                  <c:v>1.1175907266338889</c:v>
                </c:pt>
                <c:pt idx="579">
                  <c:v>1.1045692003127596</c:v>
                </c:pt>
                <c:pt idx="580">
                  <c:v>1.0518878062746269</c:v>
                </c:pt>
                <c:pt idx="581">
                  <c:v>1.0120849341722731</c:v>
                </c:pt>
                <c:pt idx="582">
                  <c:v>1.0218236912080179</c:v>
                </c:pt>
                <c:pt idx="583">
                  <c:v>1.0100276798080807</c:v>
                </c:pt>
                <c:pt idx="584">
                  <c:v>1.0054215400110942</c:v>
                </c:pt>
                <c:pt idx="585">
                  <c:v>1.0204474034587998</c:v>
                </c:pt>
                <c:pt idx="586">
                  <c:v>1.0220720047020655</c:v>
                </c:pt>
                <c:pt idx="587">
                  <c:v>1.0827697458742764</c:v>
                </c:pt>
                <c:pt idx="588">
                  <c:v>1.0499625185322476</c:v>
                </c:pt>
                <c:pt idx="589">
                  <c:v>1.067930769775016</c:v>
                </c:pt>
                <c:pt idx="590">
                  <c:v>1.0684002713332428</c:v>
                </c:pt>
                <c:pt idx="591">
                  <c:v>1.072807792262801</c:v>
                </c:pt>
                <c:pt idx="592">
                  <c:v>1.0959713127083071</c:v>
                </c:pt>
                <c:pt idx="593">
                  <c:v>1.1262359041639356</c:v>
                </c:pt>
                <c:pt idx="594">
                  <c:v>1.1218347107660602</c:v>
                </c:pt>
                <c:pt idx="595">
                  <c:v>1.1409463153994828</c:v>
                </c:pt>
                <c:pt idx="596">
                  <c:v>1.1650835956901275</c:v>
                </c:pt>
                <c:pt idx="597">
                  <c:v>1.1762299899455511</c:v>
                </c:pt>
                <c:pt idx="598">
                  <c:v>1.146512055092801</c:v>
                </c:pt>
                <c:pt idx="599">
                  <c:v>1.163126302556573</c:v>
                </c:pt>
                <c:pt idx="600">
                  <c:v>1.1403269668818017</c:v>
                </c:pt>
                <c:pt idx="601">
                  <c:v>1.1786119957641443</c:v>
                </c:pt>
                <c:pt idx="602">
                  <c:v>1.2557491017124454</c:v>
                </c:pt>
                <c:pt idx="603">
                  <c:v>1.2727889113687412</c:v>
                </c:pt>
                <c:pt idx="604">
                  <c:v>1.3157111818246794</c:v>
                </c:pt>
                <c:pt idx="605">
                  <c:v>1.3159569885444298</c:v>
                </c:pt>
                <c:pt idx="606">
                  <c:v>1.3219573301720817</c:v>
                </c:pt>
                <c:pt idx="607">
                  <c:v>1.3239876229808385</c:v>
                </c:pt>
                <c:pt idx="608">
                  <c:v>1.3260503242206121</c:v>
                </c:pt>
                <c:pt idx="609">
                  <c:v>1.3107837268194258</c:v>
                </c:pt>
                <c:pt idx="610">
                  <c:v>1.3460479788218256</c:v>
                </c:pt>
                <c:pt idx="611">
                  <c:v>1.3442524404500493</c:v>
                </c:pt>
                <c:pt idx="612">
                  <c:v>1.2495864262063423</c:v>
                </c:pt>
                <c:pt idx="613">
                  <c:v>1.1923377236805965</c:v>
                </c:pt>
                <c:pt idx="614">
                  <c:v>1.2010649396461921</c:v>
                </c:pt>
                <c:pt idx="615">
                  <c:v>1.0880931332687778</c:v>
                </c:pt>
                <c:pt idx="616">
                  <c:v>1.1010690797037073</c:v>
                </c:pt>
                <c:pt idx="617">
                  <c:v>1.0387633259370621</c:v>
                </c:pt>
                <c:pt idx="618">
                  <c:v>1.0562673170941574</c:v>
                </c:pt>
                <c:pt idx="619">
                  <c:v>1.0789483131112401</c:v>
                </c:pt>
                <c:pt idx="620">
                  <c:v>1.0876297599016198</c:v>
                </c:pt>
                <c:pt idx="621">
                  <c:v>1.1155368060227313</c:v>
                </c:pt>
                <c:pt idx="622">
                  <c:v>1.1211182973081559</c:v>
                </c:pt>
                <c:pt idx="623">
                  <c:v>1.1167021339255949</c:v>
                </c:pt>
                <c:pt idx="624">
                  <c:v>1.1438268159761928</c:v>
                </c:pt>
                <c:pt idx="625">
                  <c:v>1.0883591279526477</c:v>
                </c:pt>
                <c:pt idx="626">
                  <c:v>1.0907785519812738</c:v>
                </c:pt>
                <c:pt idx="627">
                  <c:v>1.1040265502495457</c:v>
                </c:pt>
                <c:pt idx="628">
                  <c:v>0.98158780740997031</c:v>
                </c:pt>
                <c:pt idx="629">
                  <c:v>0.99742658123103767</c:v>
                </c:pt>
                <c:pt idx="630">
                  <c:v>0.88247696366412198</c:v>
                </c:pt>
                <c:pt idx="631">
                  <c:v>0.8270496858083547</c:v>
                </c:pt>
                <c:pt idx="632">
                  <c:v>0.83092460483772568</c:v>
                </c:pt>
                <c:pt idx="633">
                  <c:v>0.82264927396612242</c:v>
                </c:pt>
                <c:pt idx="634">
                  <c:v>0.82796083227707418</c:v>
                </c:pt>
                <c:pt idx="635">
                  <c:v>0.84922228811051281</c:v>
                </c:pt>
                <c:pt idx="636">
                  <c:v>0.84504628619173916</c:v>
                </c:pt>
                <c:pt idx="637">
                  <c:v>0.87154096628556577</c:v>
                </c:pt>
                <c:pt idx="638">
                  <c:v>0.86669673231554911</c:v>
                </c:pt>
                <c:pt idx="639">
                  <c:v>0.89714541322637187</c:v>
                </c:pt>
                <c:pt idx="640">
                  <c:v>0.90801567889452139</c:v>
                </c:pt>
                <c:pt idx="641">
                  <c:v>0.91096274253098253</c:v>
                </c:pt>
                <c:pt idx="642">
                  <c:v>0.89700876873238811</c:v>
                </c:pt>
                <c:pt idx="643">
                  <c:v>0.90614473433877663</c:v>
                </c:pt>
                <c:pt idx="644">
                  <c:v>0.88901806409069628</c:v>
                </c:pt>
                <c:pt idx="645">
                  <c:v>0.92624574643865343</c:v>
                </c:pt>
                <c:pt idx="646">
                  <c:v>1.0877129997809494</c:v>
                </c:pt>
                <c:pt idx="647">
                  <c:v>1.1371938675850817</c:v>
                </c:pt>
                <c:pt idx="648">
                  <c:v>1.2283239739361251</c:v>
                </c:pt>
                <c:pt idx="649">
                  <c:v>1.2257170821977621</c:v>
                </c:pt>
                <c:pt idx="650">
                  <c:v>1.2139438969516816</c:v>
                </c:pt>
                <c:pt idx="651">
                  <c:v>1.2073700201642394</c:v>
                </c:pt>
                <c:pt idx="652">
                  <c:v>1.2164469679383685</c:v>
                </c:pt>
                <c:pt idx="653">
                  <c:v>1.2280984514490729</c:v>
                </c:pt>
                <c:pt idx="654">
                  <c:v>1.2271169112918674</c:v>
                </c:pt>
                <c:pt idx="655">
                  <c:v>1.2428699877507752</c:v>
                </c:pt>
                <c:pt idx="656">
                  <c:v>1.309487710715961</c:v>
                </c:pt>
                <c:pt idx="657">
                  <c:v>1.3911898674558505</c:v>
                </c:pt>
                <c:pt idx="658">
                  <c:v>1.3946537705771083</c:v>
                </c:pt>
                <c:pt idx="659">
                  <c:v>1.3926136949009966</c:v>
                </c:pt>
                <c:pt idx="660">
                  <c:v>1.3683260317016035</c:v>
                </c:pt>
                <c:pt idx="661">
                  <c:v>1.4251351944923134</c:v>
                </c:pt>
                <c:pt idx="662">
                  <c:v>1.4631338438985306</c:v>
                </c:pt>
                <c:pt idx="663">
                  <c:v>1.4640868562283604</c:v>
                </c:pt>
                <c:pt idx="664">
                  <c:v>1.4167121561324059</c:v>
                </c:pt>
                <c:pt idx="665">
                  <c:v>1.3821598339018581</c:v>
                </c:pt>
                <c:pt idx="666">
                  <c:v>1.4013180431524155</c:v>
                </c:pt>
                <c:pt idx="667">
                  <c:v>1.3567425410079264</c:v>
                </c:pt>
                <c:pt idx="668">
                  <c:v>1.2747676153394696</c:v>
                </c:pt>
                <c:pt idx="669">
                  <c:v>1.2734429666252471</c:v>
                </c:pt>
                <c:pt idx="670">
                  <c:v>1.3081403528657385</c:v>
                </c:pt>
                <c:pt idx="671">
                  <c:v>1.2445132053455958</c:v>
                </c:pt>
                <c:pt idx="672">
                  <c:v>1.1504330180554874</c:v>
                </c:pt>
                <c:pt idx="673">
                  <c:v>1.0866504715463143</c:v>
                </c:pt>
                <c:pt idx="674">
                  <c:v>1.096711310657791</c:v>
                </c:pt>
                <c:pt idx="675">
                  <c:v>1.0818903209968491</c:v>
                </c:pt>
                <c:pt idx="676">
                  <c:v>1.0866552212603919</c:v>
                </c:pt>
                <c:pt idx="677">
                  <c:v>1.0678978445767235</c:v>
                </c:pt>
                <c:pt idx="678">
                  <c:v>1.0616970590339267</c:v>
                </c:pt>
                <c:pt idx="679">
                  <c:v>1.0453479124504506</c:v>
                </c:pt>
                <c:pt idx="680">
                  <c:v>1.0450130420547463</c:v>
                </c:pt>
                <c:pt idx="681">
                  <c:v>1.0502355086626585</c:v>
                </c:pt>
                <c:pt idx="682">
                  <c:v>0.99305881318863076</c:v>
                </c:pt>
                <c:pt idx="683">
                  <c:v>0.99129013363003726</c:v>
                </c:pt>
                <c:pt idx="684">
                  <c:v>1.0150038932072158</c:v>
                </c:pt>
                <c:pt idx="685">
                  <c:v>1.0359913438422774</c:v>
                </c:pt>
                <c:pt idx="686">
                  <c:v>1.0258907485482984</c:v>
                </c:pt>
                <c:pt idx="687">
                  <c:v>1.0081462814151434</c:v>
                </c:pt>
                <c:pt idx="688">
                  <c:v>0.95996471709355802</c:v>
                </c:pt>
                <c:pt idx="689">
                  <c:v>1.0002844756658298</c:v>
                </c:pt>
                <c:pt idx="690">
                  <c:v>1.0027822585509356</c:v>
                </c:pt>
                <c:pt idx="691">
                  <c:v>1.0060532917328242</c:v>
                </c:pt>
                <c:pt idx="692">
                  <c:v>0.97456204666285784</c:v>
                </c:pt>
                <c:pt idx="693">
                  <c:v>0.94779642567174127</c:v>
                </c:pt>
                <c:pt idx="694">
                  <c:v>0.94663944380061593</c:v>
                </c:pt>
                <c:pt idx="695">
                  <c:v>0.95673526410987775</c:v>
                </c:pt>
                <c:pt idx="696">
                  <c:v>0.95757478160485787</c:v>
                </c:pt>
                <c:pt idx="697">
                  <c:v>0.94311449264474723</c:v>
                </c:pt>
                <c:pt idx="698">
                  <c:v>0.99129685884985586</c:v>
                </c:pt>
                <c:pt idx="699">
                  <c:v>1.0119412835191191</c:v>
                </c:pt>
                <c:pt idx="700">
                  <c:v>0.97683766714689546</c:v>
                </c:pt>
                <c:pt idx="701">
                  <c:v>0.9432864078909583</c:v>
                </c:pt>
                <c:pt idx="702">
                  <c:v>0.94427283281671226</c:v>
                </c:pt>
                <c:pt idx="703">
                  <c:v>0.93017803822477907</c:v>
                </c:pt>
                <c:pt idx="704">
                  <c:v>0.96214254638795194</c:v>
                </c:pt>
                <c:pt idx="705">
                  <c:v>0.95485910687310005</c:v>
                </c:pt>
                <c:pt idx="706">
                  <c:v>0.94019478649859556</c:v>
                </c:pt>
                <c:pt idx="707">
                  <c:v>0.95576271406212421</c:v>
                </c:pt>
                <c:pt idx="708">
                  <c:v>0.92137158160964006</c:v>
                </c:pt>
                <c:pt idx="709">
                  <c:v>0.93165351905624905</c:v>
                </c:pt>
                <c:pt idx="710">
                  <c:v>0.92955810984031151</c:v>
                </c:pt>
                <c:pt idx="711">
                  <c:v>0.93004277852820993</c:v>
                </c:pt>
                <c:pt idx="712">
                  <c:v>0.97347211413026469</c:v>
                </c:pt>
                <c:pt idx="713">
                  <c:v>0.97857027593639723</c:v>
                </c:pt>
                <c:pt idx="714">
                  <c:v>0.97401055391601621</c:v>
                </c:pt>
                <c:pt idx="715">
                  <c:v>0.97773734846360716</c:v>
                </c:pt>
                <c:pt idx="716">
                  <c:v>0.93187266655196344</c:v>
                </c:pt>
                <c:pt idx="717">
                  <c:v>0.96056020840887169</c:v>
                </c:pt>
                <c:pt idx="718">
                  <c:v>0.99689474859934268</c:v>
                </c:pt>
                <c:pt idx="719">
                  <c:v>0.99738604598780256</c:v>
                </c:pt>
                <c:pt idx="720">
                  <c:v>0.96802003889326826</c:v>
                </c:pt>
                <c:pt idx="721">
                  <c:v>0.96389443048410617</c:v>
                </c:pt>
                <c:pt idx="722">
                  <c:v>0.95082669180532697</c:v>
                </c:pt>
                <c:pt idx="723">
                  <c:v>1.0017775599253023</c:v>
                </c:pt>
                <c:pt idx="724">
                  <c:v>1.0085349749507573</c:v>
                </c:pt>
                <c:pt idx="725">
                  <c:v>0.98820615149343316</c:v>
                </c:pt>
                <c:pt idx="726">
                  <c:v>0.96808646196993298</c:v>
                </c:pt>
                <c:pt idx="727">
                  <c:v>1.0204226406697363</c:v>
                </c:pt>
                <c:pt idx="728">
                  <c:v>1.004603382927435</c:v>
                </c:pt>
                <c:pt idx="729">
                  <c:v>0.95260886827384639</c:v>
                </c:pt>
                <c:pt idx="730">
                  <c:v>0.95988865841780835</c:v>
                </c:pt>
                <c:pt idx="731">
                  <c:v>0.96322442365348082</c:v>
                </c:pt>
                <c:pt idx="732">
                  <c:v>0.97985362084322059</c:v>
                </c:pt>
                <c:pt idx="733">
                  <c:v>1.0315695317935341</c:v>
                </c:pt>
                <c:pt idx="734">
                  <c:v>1.0363178198100784</c:v>
                </c:pt>
                <c:pt idx="735">
                  <c:v>1.0278705411978522</c:v>
                </c:pt>
                <c:pt idx="736">
                  <c:v>1.0239009318677124</c:v>
                </c:pt>
                <c:pt idx="737">
                  <c:v>1.0580176228790241</c:v>
                </c:pt>
                <c:pt idx="738">
                  <c:v>1.048003939908871</c:v>
                </c:pt>
                <c:pt idx="739">
                  <c:v>1.0479080030211141</c:v>
                </c:pt>
                <c:pt idx="740">
                  <c:v>1.0513042590807338</c:v>
                </c:pt>
                <c:pt idx="741">
                  <c:v>1.0762582533746208</c:v>
                </c:pt>
                <c:pt idx="742">
                  <c:v>1.117368163544687</c:v>
                </c:pt>
                <c:pt idx="743">
                  <c:v>1.0760943916706129</c:v>
                </c:pt>
                <c:pt idx="744">
                  <c:v>1.0899078583921424</c:v>
                </c:pt>
                <c:pt idx="745">
                  <c:v>1.1257936746355715</c:v>
                </c:pt>
                <c:pt idx="746">
                  <c:v>1.1496194788870617</c:v>
                </c:pt>
                <c:pt idx="747">
                  <c:v>1.1537890826801183</c:v>
                </c:pt>
                <c:pt idx="748">
                  <c:v>1.1380755308759145</c:v>
                </c:pt>
                <c:pt idx="749">
                  <c:v>1.1077977766625526</c:v>
                </c:pt>
                <c:pt idx="750">
                  <c:v>1.0984702951137606</c:v>
                </c:pt>
                <c:pt idx="751">
                  <c:v>1.0933151716299054</c:v>
                </c:pt>
                <c:pt idx="752">
                  <c:v>1.1523112818690016</c:v>
                </c:pt>
                <c:pt idx="753">
                  <c:v>1.1591109867350466</c:v>
                </c:pt>
                <c:pt idx="754">
                  <c:v>1.1383721635720454</c:v>
                </c:pt>
                <c:pt idx="755">
                  <c:v>1.1286273897731869</c:v>
                </c:pt>
                <c:pt idx="756">
                  <c:v>1.129172215595619</c:v>
                </c:pt>
                <c:pt idx="757">
                  <c:v>1.1692189286980461</c:v>
                </c:pt>
                <c:pt idx="758">
                  <c:v>1.1556489588664169</c:v>
                </c:pt>
                <c:pt idx="759">
                  <c:v>1.1920897887810842</c:v>
                </c:pt>
                <c:pt idx="760">
                  <c:v>1.208542799790199</c:v>
                </c:pt>
                <c:pt idx="761">
                  <c:v>1.2079638070487817</c:v>
                </c:pt>
                <c:pt idx="762">
                  <c:v>1.2583613683411197</c:v>
                </c:pt>
                <c:pt idx="763">
                  <c:v>1.2573748895628651</c:v>
                </c:pt>
                <c:pt idx="764">
                  <c:v>1.2478205516147982</c:v>
                </c:pt>
                <c:pt idx="765">
                  <c:v>1.2517592781052522</c:v>
                </c:pt>
                <c:pt idx="766">
                  <c:v>1.2590008839577729</c:v>
                </c:pt>
                <c:pt idx="767">
                  <c:v>1.2581381533453422</c:v>
                </c:pt>
                <c:pt idx="768">
                  <c:v>1.2260664438484499</c:v>
                </c:pt>
                <c:pt idx="769">
                  <c:v>1.2257315568518119</c:v>
                </c:pt>
                <c:pt idx="770">
                  <c:v>1.2269306927170678</c:v>
                </c:pt>
                <c:pt idx="771">
                  <c:v>1.2119603776482335</c:v>
                </c:pt>
                <c:pt idx="772">
                  <c:v>1.1934483334988508</c:v>
                </c:pt>
                <c:pt idx="773">
                  <c:v>1.1899893376227852</c:v>
                </c:pt>
                <c:pt idx="774">
                  <c:v>1.2426426055633579</c:v>
                </c:pt>
                <c:pt idx="775">
                  <c:v>1.2433405402080042</c:v>
                </c:pt>
                <c:pt idx="776">
                  <c:v>1.2383829206124077</c:v>
                </c:pt>
                <c:pt idx="777">
                  <c:v>1.2028321417763674</c:v>
                </c:pt>
                <c:pt idx="778">
                  <c:v>1.204412318210863</c:v>
                </c:pt>
                <c:pt idx="779">
                  <c:v>1.2154825582715558</c:v>
                </c:pt>
                <c:pt idx="780">
                  <c:v>1.2071097624054841</c:v>
                </c:pt>
                <c:pt idx="781">
                  <c:v>1.2155906569076989</c:v>
                </c:pt>
                <c:pt idx="782">
                  <c:v>1.2173933019418595</c:v>
                </c:pt>
                <c:pt idx="783">
                  <c:v>1.1763150042600461</c:v>
                </c:pt>
                <c:pt idx="784">
                  <c:v>1.1658283316701181</c:v>
                </c:pt>
                <c:pt idx="785">
                  <c:v>1.1392891577410171</c:v>
                </c:pt>
                <c:pt idx="786">
                  <c:v>1.1514592891733759</c:v>
                </c:pt>
                <c:pt idx="787">
                  <c:v>1.1699881444119493</c:v>
                </c:pt>
                <c:pt idx="788">
                  <c:v>1.1329356671084425</c:v>
                </c:pt>
                <c:pt idx="789">
                  <c:v>1.125488854360772</c:v>
                </c:pt>
                <c:pt idx="790">
                  <c:v>1.0716509221405686</c:v>
                </c:pt>
                <c:pt idx="791">
                  <c:v>1.0773599751842611</c:v>
                </c:pt>
                <c:pt idx="792">
                  <c:v>1.0765468490871959</c:v>
                </c:pt>
                <c:pt idx="793">
                  <c:v>1.0467280305277358</c:v>
                </c:pt>
                <c:pt idx="794">
                  <c:v>1.0860869883377475</c:v>
                </c:pt>
                <c:pt idx="795">
                  <c:v>1.0653691368954994</c:v>
                </c:pt>
                <c:pt idx="796">
                  <c:v>1.058535710055341</c:v>
                </c:pt>
                <c:pt idx="797">
                  <c:v>1.0729798723422599</c:v>
                </c:pt>
                <c:pt idx="798">
                  <c:v>1.0745381603575164</c:v>
                </c:pt>
                <c:pt idx="799">
                  <c:v>1.0782405022281256</c:v>
                </c:pt>
                <c:pt idx="800">
                  <c:v>1.094902362220348</c:v>
                </c:pt>
                <c:pt idx="801">
                  <c:v>1.0954114462425244</c:v>
                </c:pt>
                <c:pt idx="802">
                  <c:v>1.0930217560230833</c:v>
                </c:pt>
                <c:pt idx="803">
                  <c:v>1.0927033655852303</c:v>
                </c:pt>
                <c:pt idx="804">
                  <c:v>1.0468929965553107</c:v>
                </c:pt>
                <c:pt idx="805">
                  <c:v>1.0504968614488943</c:v>
                </c:pt>
                <c:pt idx="806">
                  <c:v>1.0174067815479626</c:v>
                </c:pt>
                <c:pt idx="807">
                  <c:v>0.95838697372087045</c:v>
                </c:pt>
                <c:pt idx="808">
                  <c:v>0.9592961129172074</c:v>
                </c:pt>
                <c:pt idx="809">
                  <c:v>0.97707287233320606</c:v>
                </c:pt>
                <c:pt idx="810">
                  <c:v>0.95628447650267734</c:v>
                </c:pt>
                <c:pt idx="811">
                  <c:v>0.95729401332975461</c:v>
                </c:pt>
                <c:pt idx="812">
                  <c:v>0.97516637676121254</c:v>
                </c:pt>
                <c:pt idx="813">
                  <c:v>0.9754071661541891</c:v>
                </c:pt>
                <c:pt idx="814">
                  <c:v>0.98928506823693585</c:v>
                </c:pt>
                <c:pt idx="815">
                  <c:v>1.063954178817704</c:v>
                </c:pt>
                <c:pt idx="816">
                  <c:v>1.0599932034677622</c:v>
                </c:pt>
                <c:pt idx="817">
                  <c:v>1.0543609387905599</c:v>
                </c:pt>
                <c:pt idx="818">
                  <c:v>1.0571941968685183</c:v>
                </c:pt>
                <c:pt idx="819">
                  <c:v>1.0645904861616065</c:v>
                </c:pt>
                <c:pt idx="820">
                  <c:v>1.0331662369233128</c:v>
                </c:pt>
                <c:pt idx="821">
                  <c:v>1.0512749044522949</c:v>
                </c:pt>
                <c:pt idx="822">
                  <c:v>1.0098208081219797</c:v>
                </c:pt>
                <c:pt idx="823">
                  <c:v>1.0378837028517021</c:v>
                </c:pt>
                <c:pt idx="824">
                  <c:v>1.0290440286514591</c:v>
                </c:pt>
                <c:pt idx="825">
                  <c:v>0.96764963000644599</c:v>
                </c:pt>
                <c:pt idx="826">
                  <c:v>1.027837065034173</c:v>
                </c:pt>
                <c:pt idx="827">
                  <c:v>1.041856799851999</c:v>
                </c:pt>
                <c:pt idx="828">
                  <c:v>0.97896269438076433</c:v>
                </c:pt>
                <c:pt idx="829">
                  <c:v>0.96681930570943375</c:v>
                </c:pt>
                <c:pt idx="830">
                  <c:v>0.97309262010963105</c:v>
                </c:pt>
                <c:pt idx="831">
                  <c:v>0.95381633001215083</c:v>
                </c:pt>
                <c:pt idx="832">
                  <c:v>0.99623851702074717</c:v>
                </c:pt>
                <c:pt idx="833">
                  <c:v>1.0000236556341833</c:v>
                </c:pt>
                <c:pt idx="834">
                  <c:v>1.0489122886339499</c:v>
                </c:pt>
                <c:pt idx="835">
                  <c:v>1.1266846406913922</c:v>
                </c:pt>
                <c:pt idx="836">
                  <c:v>1.0880934297329234</c:v>
                </c:pt>
                <c:pt idx="837">
                  <c:v>1.1006899107241295</c:v>
                </c:pt>
                <c:pt idx="838">
                  <c:v>1.1001305885339052</c:v>
                </c:pt>
                <c:pt idx="839">
                  <c:v>1.1410338643396576</c:v>
                </c:pt>
                <c:pt idx="840">
                  <c:v>1.1153815105059317</c:v>
                </c:pt>
                <c:pt idx="841">
                  <c:v>1.1093162671867569</c:v>
                </c:pt>
                <c:pt idx="842">
                  <c:v>1.1133881256235714</c:v>
                </c:pt>
                <c:pt idx="843">
                  <c:v>1.1613427526993532</c:v>
                </c:pt>
                <c:pt idx="844">
                  <c:v>1.1658843152556515</c:v>
                </c:pt>
                <c:pt idx="845">
                  <c:v>1.1992412475780143</c:v>
                </c:pt>
                <c:pt idx="846">
                  <c:v>1.1677014458613411</c:v>
                </c:pt>
                <c:pt idx="847">
                  <c:v>1.1850265638327468</c:v>
                </c:pt>
                <c:pt idx="848">
                  <c:v>1.180719937111453</c:v>
                </c:pt>
                <c:pt idx="849">
                  <c:v>1.1584972654169257</c:v>
                </c:pt>
                <c:pt idx="850">
                  <c:v>1.1756525527260098</c:v>
                </c:pt>
                <c:pt idx="851">
                  <c:v>1.1848178481662628</c:v>
                </c:pt>
                <c:pt idx="852">
                  <c:v>1.1941604330176687</c:v>
                </c:pt>
                <c:pt idx="853">
                  <c:v>1.1943445586308765</c:v>
                </c:pt>
                <c:pt idx="854">
                  <c:v>1.1446359237108819</c:v>
                </c:pt>
                <c:pt idx="855">
                  <c:v>1.1459346563217034</c:v>
                </c:pt>
                <c:pt idx="856">
                  <c:v>1.1802335289237036</c:v>
                </c:pt>
                <c:pt idx="857">
                  <c:v>1.1962510435271458</c:v>
                </c:pt>
                <c:pt idx="858">
                  <c:v>1.2245066594918077</c:v>
                </c:pt>
                <c:pt idx="859">
                  <c:v>1.2023518172619525</c:v>
                </c:pt>
                <c:pt idx="860">
                  <c:v>1.232185574628506</c:v>
                </c:pt>
                <c:pt idx="861">
                  <c:v>1.2138143026387207</c:v>
                </c:pt>
                <c:pt idx="862">
                  <c:v>1.2522045076712747</c:v>
                </c:pt>
                <c:pt idx="863">
                  <c:v>1.226603405334624</c:v>
                </c:pt>
                <c:pt idx="864">
                  <c:v>1.2279630830498671</c:v>
                </c:pt>
                <c:pt idx="865">
                  <c:v>1.2148709387624119</c:v>
                </c:pt>
                <c:pt idx="866">
                  <c:v>1.1722097503965456</c:v>
                </c:pt>
                <c:pt idx="867">
                  <c:v>1.1559061985234558</c:v>
                </c:pt>
                <c:pt idx="868">
                  <c:v>1.1189363228636635</c:v>
                </c:pt>
                <c:pt idx="869">
                  <c:v>1.1463859058629824</c:v>
                </c:pt>
                <c:pt idx="870">
                  <c:v>1.1760745715512528</c:v>
                </c:pt>
                <c:pt idx="871">
                  <c:v>1.1688936042534055</c:v>
                </c:pt>
                <c:pt idx="872">
                  <c:v>1.1612107141172292</c:v>
                </c:pt>
                <c:pt idx="873">
                  <c:v>1.2060670999004848</c:v>
                </c:pt>
                <c:pt idx="874">
                  <c:v>1.1682235387797748</c:v>
                </c:pt>
                <c:pt idx="875">
                  <c:v>1.1749148676549122</c:v>
                </c:pt>
                <c:pt idx="876">
                  <c:v>1.1897954102616006</c:v>
                </c:pt>
                <c:pt idx="877">
                  <c:v>1.1767585330734978</c:v>
                </c:pt>
                <c:pt idx="878">
                  <c:v>1.1900751760839241</c:v>
                </c:pt>
                <c:pt idx="879">
                  <c:v>1.1898377950353669</c:v>
                </c:pt>
                <c:pt idx="880">
                  <c:v>1.1934658123135702</c:v>
                </c:pt>
                <c:pt idx="881">
                  <c:v>1.1726940768373746</c:v>
                </c:pt>
                <c:pt idx="882">
                  <c:v>1.1649244749158911</c:v>
                </c:pt>
                <c:pt idx="883">
                  <c:v>1.1378675584817246</c:v>
                </c:pt>
                <c:pt idx="884">
                  <c:v>1.1736681768060819</c:v>
                </c:pt>
                <c:pt idx="885">
                  <c:v>1.1957864195960424</c:v>
                </c:pt>
                <c:pt idx="886">
                  <c:v>1.2071542114918796</c:v>
                </c:pt>
                <c:pt idx="887">
                  <c:v>1.1691289837503651</c:v>
                </c:pt>
                <c:pt idx="888">
                  <c:v>1.1750374050326255</c:v>
                </c:pt>
                <c:pt idx="889">
                  <c:v>1.1586956886623563</c:v>
                </c:pt>
                <c:pt idx="890">
                  <c:v>1.194819012703715</c:v>
                </c:pt>
                <c:pt idx="891">
                  <c:v>1.1663600211447285</c:v>
                </c:pt>
                <c:pt idx="892">
                  <c:v>1.1619625593139018</c:v>
                </c:pt>
                <c:pt idx="893">
                  <c:v>1.1159710560088298</c:v>
                </c:pt>
                <c:pt idx="894">
                  <c:v>1.0804887384783308</c:v>
                </c:pt>
                <c:pt idx="895">
                  <c:v>1.0868454896072257</c:v>
                </c:pt>
                <c:pt idx="896">
                  <c:v>1.0919149598617526</c:v>
                </c:pt>
                <c:pt idx="897">
                  <c:v>1.092146845063793</c:v>
                </c:pt>
                <c:pt idx="898">
                  <c:v>1.0780628784502662</c:v>
                </c:pt>
                <c:pt idx="899">
                  <c:v>1.0834464126260506</c:v>
                </c:pt>
                <c:pt idx="900">
                  <c:v>1.0760126513226749</c:v>
                </c:pt>
                <c:pt idx="901">
                  <c:v>1.0797436971860053</c:v>
                </c:pt>
                <c:pt idx="902">
                  <c:v>1.0694777139544152</c:v>
                </c:pt>
                <c:pt idx="903">
                  <c:v>1.123271048973651</c:v>
                </c:pt>
                <c:pt idx="904">
                  <c:v>1.0969224789068659</c:v>
                </c:pt>
                <c:pt idx="905">
                  <c:v>1.1001605943376327</c:v>
                </c:pt>
                <c:pt idx="906">
                  <c:v>1.0983059291374579</c:v>
                </c:pt>
                <c:pt idx="907">
                  <c:v>1.061492457137186</c:v>
                </c:pt>
                <c:pt idx="908">
                  <c:v>1.0916393906138533</c:v>
                </c:pt>
                <c:pt idx="909">
                  <c:v>1.0619001026259436</c:v>
                </c:pt>
                <c:pt idx="910">
                  <c:v>1.1193345757516464</c:v>
                </c:pt>
                <c:pt idx="911">
                  <c:v>1.1129083278673761</c:v>
                </c:pt>
                <c:pt idx="912">
                  <c:v>1.1292982881665561</c:v>
                </c:pt>
                <c:pt idx="913">
                  <c:v>1.1419550299037964</c:v>
                </c:pt>
                <c:pt idx="914">
                  <c:v>1.1366527921456371</c:v>
                </c:pt>
                <c:pt idx="915">
                  <c:v>1.1316767462771848</c:v>
                </c:pt>
                <c:pt idx="916">
                  <c:v>1.1424171695345406</c:v>
                </c:pt>
                <c:pt idx="917">
                  <c:v>1.1767717824442376</c:v>
                </c:pt>
                <c:pt idx="918">
                  <c:v>1.1790502830212426</c:v>
                </c:pt>
                <c:pt idx="919">
                  <c:v>1.165924341410056</c:v>
                </c:pt>
                <c:pt idx="920">
                  <c:v>1.158712949321242</c:v>
                </c:pt>
                <c:pt idx="921">
                  <c:v>1.1364825001372787</c:v>
                </c:pt>
                <c:pt idx="922">
                  <c:v>1.1822996545369873</c:v>
                </c:pt>
                <c:pt idx="923">
                  <c:v>1.1872948379648858</c:v>
                </c:pt>
                <c:pt idx="924">
                  <c:v>1.2290493747573354</c:v>
                </c:pt>
                <c:pt idx="925">
                  <c:v>1.2343118756828082</c:v>
                </c:pt>
                <c:pt idx="926">
                  <c:v>1.2423146104742746</c:v>
                </c:pt>
                <c:pt idx="927">
                  <c:v>1.2293427739707008</c:v>
                </c:pt>
                <c:pt idx="928">
                  <c:v>1.2686918162939265</c:v>
                </c:pt>
                <c:pt idx="929">
                  <c:v>1.2863481693939729</c:v>
                </c:pt>
                <c:pt idx="930">
                  <c:v>1.2806617912844565</c:v>
                </c:pt>
                <c:pt idx="931">
                  <c:v>1.2651755796377935</c:v>
                </c:pt>
                <c:pt idx="932">
                  <c:v>1.2750097617167946</c:v>
                </c:pt>
                <c:pt idx="933">
                  <c:v>1.2679652652886408</c:v>
                </c:pt>
                <c:pt idx="934">
                  <c:v>1.22312590899192</c:v>
                </c:pt>
                <c:pt idx="935">
                  <c:v>1.2539556336580631</c:v>
                </c:pt>
                <c:pt idx="936">
                  <c:v>1.2547401735920489</c:v>
                </c:pt>
                <c:pt idx="937">
                  <c:v>1.2535347012794764</c:v>
                </c:pt>
                <c:pt idx="938">
                  <c:v>1.2489900436081374</c:v>
                </c:pt>
                <c:pt idx="939">
                  <c:v>1.2562255293716811</c:v>
                </c:pt>
                <c:pt idx="940">
                  <c:v>1.2703660466468387</c:v>
                </c:pt>
                <c:pt idx="941">
                  <c:v>1.2483448827293513</c:v>
                </c:pt>
                <c:pt idx="942">
                  <c:v>1.2518422553413284</c:v>
                </c:pt>
                <c:pt idx="943">
                  <c:v>1.2341574114062728</c:v>
                </c:pt>
                <c:pt idx="944">
                  <c:v>1.2658517469124455</c:v>
                </c:pt>
                <c:pt idx="945">
                  <c:v>1.3028828250898001</c:v>
                </c:pt>
                <c:pt idx="946">
                  <c:v>1.2798434043995173</c:v>
                </c:pt>
                <c:pt idx="947">
                  <c:v>1.2506771499205274</c:v>
                </c:pt>
                <c:pt idx="948">
                  <c:v>1.2223968171157118</c:v>
                </c:pt>
                <c:pt idx="949">
                  <c:v>1.2188685922449927</c:v>
                </c:pt>
                <c:pt idx="950">
                  <c:v>1.2325392096099035</c:v>
                </c:pt>
                <c:pt idx="951">
                  <c:v>1.2261939540314271</c:v>
                </c:pt>
                <c:pt idx="952">
                  <c:v>1.2205902855427329</c:v>
                </c:pt>
                <c:pt idx="953">
                  <c:v>1.1601370886736313</c:v>
                </c:pt>
                <c:pt idx="954">
                  <c:v>1.1467360881711091</c:v>
                </c:pt>
                <c:pt idx="955">
                  <c:v>1.1228273644343467</c:v>
                </c:pt>
                <c:pt idx="956">
                  <c:v>1.1798559234075998</c:v>
                </c:pt>
                <c:pt idx="957">
                  <c:v>1.199862088849408</c:v>
                </c:pt>
                <c:pt idx="958">
                  <c:v>1.2513512696281568</c:v>
                </c:pt>
                <c:pt idx="959">
                  <c:v>1.2209050054193671</c:v>
                </c:pt>
                <c:pt idx="960">
                  <c:v>1.2106456111095951</c:v>
                </c:pt>
                <c:pt idx="961">
                  <c:v>1.2271803506018284</c:v>
                </c:pt>
                <c:pt idx="962">
                  <c:v>1.2268873106843516</c:v>
                </c:pt>
                <c:pt idx="963">
                  <c:v>1.221400130821138</c:v>
                </c:pt>
                <c:pt idx="964">
                  <c:v>1.2510467875008231</c:v>
                </c:pt>
                <c:pt idx="965">
                  <c:v>1.2565238788278226</c:v>
                </c:pt>
                <c:pt idx="966">
                  <c:v>1.2348011898660545</c:v>
                </c:pt>
                <c:pt idx="967">
                  <c:v>1.2084115584616262</c:v>
                </c:pt>
                <c:pt idx="968">
                  <c:v>1.2776845657134492</c:v>
                </c:pt>
                <c:pt idx="969">
                  <c:v>1.2897738403068133</c:v>
                </c:pt>
                <c:pt idx="970">
                  <c:v>1.3026516381299265</c:v>
                </c:pt>
                <c:pt idx="971">
                  <c:v>1.3243531186189348</c:v>
                </c:pt>
                <c:pt idx="972">
                  <c:v>1.3098066015001348</c:v>
                </c:pt>
                <c:pt idx="973">
                  <c:v>1.3190733958563161</c:v>
                </c:pt>
                <c:pt idx="974">
                  <c:v>1.3209909118715812</c:v>
                </c:pt>
                <c:pt idx="975">
                  <c:v>1.2781323740487125</c:v>
                </c:pt>
                <c:pt idx="976">
                  <c:v>1.2476880986039136</c:v>
                </c:pt>
                <c:pt idx="977">
                  <c:v>1.2381371716873613</c:v>
                </c:pt>
                <c:pt idx="978">
                  <c:v>1.2778288037185979</c:v>
                </c:pt>
                <c:pt idx="979">
                  <c:v>1.2638927748177686</c:v>
                </c:pt>
                <c:pt idx="980">
                  <c:v>1.2687339384014336</c:v>
                </c:pt>
                <c:pt idx="981">
                  <c:v>1.2264538443243858</c:v>
                </c:pt>
                <c:pt idx="982">
                  <c:v>1.220274162742973</c:v>
                </c:pt>
                <c:pt idx="983">
                  <c:v>1.2009794390010284</c:v>
                </c:pt>
                <c:pt idx="984">
                  <c:v>1.2046789604909109</c:v>
                </c:pt>
                <c:pt idx="985">
                  <c:v>1.2162614143172463</c:v>
                </c:pt>
                <c:pt idx="986">
                  <c:v>1.2315482868307268</c:v>
                </c:pt>
                <c:pt idx="987">
                  <c:v>1.2244908531558596</c:v>
                </c:pt>
                <c:pt idx="988">
                  <c:v>1.2265369555075807</c:v>
                </c:pt>
                <c:pt idx="989">
                  <c:v>1.2290394885910412</c:v>
                </c:pt>
                <c:pt idx="990">
                  <c:v>1.2430859104040879</c:v>
                </c:pt>
                <c:pt idx="991">
                  <c:v>1.2702565146076696</c:v>
                </c:pt>
                <c:pt idx="992">
                  <c:v>1.256648127412376</c:v>
                </c:pt>
                <c:pt idx="993">
                  <c:v>1.2626176087028289</c:v>
                </c:pt>
                <c:pt idx="994">
                  <c:v>1.2338540894200145</c:v>
                </c:pt>
                <c:pt idx="995">
                  <c:v>1.2072858566987958</c:v>
                </c:pt>
                <c:pt idx="996">
                  <c:v>1.2060532808002438</c:v>
                </c:pt>
                <c:pt idx="997">
                  <c:v>1.1735699602549916</c:v>
                </c:pt>
                <c:pt idx="998">
                  <c:v>1.1773249247742203</c:v>
                </c:pt>
                <c:pt idx="999">
                  <c:v>1.1582650169379911</c:v>
                </c:pt>
                <c:pt idx="1000">
                  <c:v>1.1540594084706253</c:v>
                </c:pt>
                <c:pt idx="1001">
                  <c:v>1.1333040476924665</c:v>
                </c:pt>
                <c:pt idx="1002">
                  <c:v>1.1099169783928575</c:v>
                </c:pt>
                <c:pt idx="1003">
                  <c:v>1.1168340429848529</c:v>
                </c:pt>
                <c:pt idx="1004">
                  <c:v>1.0867511016738132</c:v>
                </c:pt>
                <c:pt idx="1005">
                  <c:v>1.0846086455392536</c:v>
                </c:pt>
                <c:pt idx="1006">
                  <c:v>1.1226700125100193</c:v>
                </c:pt>
                <c:pt idx="1007">
                  <c:v>1.1803852114084739</c:v>
                </c:pt>
                <c:pt idx="1008">
                  <c:v>1.180408895802773</c:v>
                </c:pt>
                <c:pt idx="1009">
                  <c:v>1.1440161289185591</c:v>
                </c:pt>
                <c:pt idx="1010">
                  <c:v>1.1564484005894107</c:v>
                </c:pt>
                <c:pt idx="1011">
                  <c:v>1.1590173813720743</c:v>
                </c:pt>
                <c:pt idx="1012">
                  <c:v>1.1769022579344399</c:v>
                </c:pt>
                <c:pt idx="1013">
                  <c:v>1.151528670754616</c:v>
                </c:pt>
                <c:pt idx="1014">
                  <c:v>1.165288740811635</c:v>
                </c:pt>
                <c:pt idx="1015">
                  <c:v>1.1886814779048167</c:v>
                </c:pt>
                <c:pt idx="1016">
                  <c:v>1.1826238369764692</c:v>
                </c:pt>
                <c:pt idx="1017">
                  <c:v>1.2074263039912181</c:v>
                </c:pt>
                <c:pt idx="1018">
                  <c:v>1.1684560164446036</c:v>
                </c:pt>
                <c:pt idx="1019">
                  <c:v>1.1330011530899813</c:v>
                </c:pt>
                <c:pt idx="1020">
                  <c:v>1.1027704115749399</c:v>
                </c:pt>
                <c:pt idx="1021">
                  <c:v>1.142165176462048</c:v>
                </c:pt>
                <c:pt idx="1022">
                  <c:v>1.117968203137194</c:v>
                </c:pt>
                <c:pt idx="1023">
                  <c:v>1.1340302095310477</c:v>
                </c:pt>
                <c:pt idx="1024">
                  <c:v>1.1288812617923139</c:v>
                </c:pt>
                <c:pt idx="1025">
                  <c:v>1.1284653200230053</c:v>
                </c:pt>
                <c:pt idx="1026">
                  <c:v>1.1639728962591038</c:v>
                </c:pt>
                <c:pt idx="1027">
                  <c:v>1.1584638512373422</c:v>
                </c:pt>
                <c:pt idx="1028">
                  <c:v>1.1296664271187042</c:v>
                </c:pt>
                <c:pt idx="1029">
                  <c:v>1.1235383814644049</c:v>
                </c:pt>
                <c:pt idx="1030">
                  <c:v>1.113531821853138</c:v>
                </c:pt>
                <c:pt idx="1031">
                  <c:v>1.1355437331483418</c:v>
                </c:pt>
                <c:pt idx="1032">
                  <c:v>1.1312192489731205</c:v>
                </c:pt>
                <c:pt idx="1033">
                  <c:v>1.1327823771486267</c:v>
                </c:pt>
                <c:pt idx="1034">
                  <c:v>1.1516958043712979</c:v>
                </c:pt>
                <c:pt idx="1035">
                  <c:v>1.1803517791661284</c:v>
                </c:pt>
                <c:pt idx="1036">
                  <c:v>1.2246523316163378</c:v>
                </c:pt>
                <c:pt idx="1037">
                  <c:v>1.1942068047340533</c:v>
                </c:pt>
                <c:pt idx="1038">
                  <c:v>1.127940744268352</c:v>
                </c:pt>
                <c:pt idx="1039">
                  <c:v>1.1285445951427022</c:v>
                </c:pt>
                <c:pt idx="1040">
                  <c:v>1.1027509101753092</c:v>
                </c:pt>
                <c:pt idx="1041">
                  <c:v>1.1189114333578525</c:v>
                </c:pt>
                <c:pt idx="1042">
                  <c:v>1.1645810543959847</c:v>
                </c:pt>
                <c:pt idx="1043">
                  <c:v>1.1752353230379553</c:v>
                </c:pt>
                <c:pt idx="1044">
                  <c:v>1.161770987741124</c:v>
                </c:pt>
                <c:pt idx="1045">
                  <c:v>1.1439396179267347</c:v>
                </c:pt>
                <c:pt idx="1046">
                  <c:v>1.1567061131757119</c:v>
                </c:pt>
                <c:pt idx="1047">
                  <c:v>1.0965876691487237</c:v>
                </c:pt>
                <c:pt idx="1048">
                  <c:v>1.1273300839947313</c:v>
                </c:pt>
                <c:pt idx="1049">
                  <c:v>1.1323331133416044</c:v>
                </c:pt>
                <c:pt idx="1050">
                  <c:v>1.1330132058944329</c:v>
                </c:pt>
                <c:pt idx="1051">
                  <c:v>1.1417798782263502</c:v>
                </c:pt>
                <c:pt idx="1052">
                  <c:v>1.1771008672212002</c:v>
                </c:pt>
                <c:pt idx="1053">
                  <c:v>1.1771666365993301</c:v>
                </c:pt>
                <c:pt idx="1054">
                  <c:v>1.1340243307776505</c:v>
                </c:pt>
                <c:pt idx="1055">
                  <c:v>1.1540999379025483</c:v>
                </c:pt>
                <c:pt idx="1056">
                  <c:v>1.1432758065718316</c:v>
                </c:pt>
                <c:pt idx="1057">
                  <c:v>1.1269309354762307</c:v>
                </c:pt>
                <c:pt idx="1058">
                  <c:v>1.0771776143715697</c:v>
                </c:pt>
                <c:pt idx="1059">
                  <c:v>1.0955284481222571</c:v>
                </c:pt>
                <c:pt idx="1060">
                  <c:v>1.1329442089728694</c:v>
                </c:pt>
                <c:pt idx="1061">
                  <c:v>1.1770455084797098</c:v>
                </c:pt>
                <c:pt idx="1062">
                  <c:v>1.1818226310165141</c:v>
                </c:pt>
                <c:pt idx="1063">
                  <c:v>1.177065331958649</c:v>
                </c:pt>
                <c:pt idx="1064">
                  <c:v>1.1093948752573681</c:v>
                </c:pt>
                <c:pt idx="1065">
                  <c:v>0.99951880895877354</c:v>
                </c:pt>
                <c:pt idx="1066">
                  <c:v>1.0000647290878681</c:v>
                </c:pt>
                <c:pt idx="1067">
                  <c:v>1.0048003064858102</c:v>
                </c:pt>
                <c:pt idx="1068">
                  <c:v>0.94802794750329522</c:v>
                </c:pt>
                <c:pt idx="1069">
                  <c:v>0.89765872289846216</c:v>
                </c:pt>
                <c:pt idx="1070">
                  <c:v>0.83881534487376774</c:v>
                </c:pt>
                <c:pt idx="1071">
                  <c:v>0.81272540297763562</c:v>
                </c:pt>
                <c:pt idx="1072">
                  <c:v>0.81530125047877677</c:v>
                </c:pt>
                <c:pt idx="1073">
                  <c:v>0.85786155736977865</c:v>
                </c:pt>
                <c:pt idx="1074">
                  <c:v>0.88381723406245327</c:v>
                </c:pt>
                <c:pt idx="1075">
                  <c:v>0.86733258122338019</c:v>
                </c:pt>
                <c:pt idx="1076">
                  <c:v>0.87100461092812997</c:v>
                </c:pt>
                <c:pt idx="1077">
                  <c:v>0.86006176322351335</c:v>
                </c:pt>
                <c:pt idx="1078">
                  <c:v>0.89353520428146616</c:v>
                </c:pt>
                <c:pt idx="1079">
                  <c:v>0.89234811665085134</c:v>
                </c:pt>
                <c:pt idx="1080">
                  <c:v>0.89119009473076782</c:v>
                </c:pt>
                <c:pt idx="1081">
                  <c:v>0.87634455834804792</c:v>
                </c:pt>
                <c:pt idx="1082">
                  <c:v>0.87670963548157455</c:v>
                </c:pt>
                <c:pt idx="1083">
                  <c:v>0.89711389094882021</c:v>
                </c:pt>
                <c:pt idx="1084">
                  <c:v>1.0012308554007159</c:v>
                </c:pt>
                <c:pt idx="1085">
                  <c:v>1.0209606481942819</c:v>
                </c:pt>
                <c:pt idx="1086">
                  <c:v>1.008539985933034</c:v>
                </c:pt>
                <c:pt idx="1087">
                  <c:v>1.0638745378370809</c:v>
                </c:pt>
                <c:pt idx="1088">
                  <c:v>1.1668296353150533</c:v>
                </c:pt>
                <c:pt idx="1089">
                  <c:v>1.1642294973847052</c:v>
                </c:pt>
                <c:pt idx="1090">
                  <c:v>1.2512812358469994</c:v>
                </c:pt>
                <c:pt idx="1091">
                  <c:v>1.2197754949434403</c:v>
                </c:pt>
                <c:pt idx="1092">
                  <c:v>1.2432396978203992</c:v>
                </c:pt>
                <c:pt idx="1093">
                  <c:v>1.249393831518532</c:v>
                </c:pt>
                <c:pt idx="1094">
                  <c:v>1.2807962073379124</c:v>
                </c:pt>
                <c:pt idx="1095">
                  <c:v>1.3387549182665193</c:v>
                </c:pt>
                <c:pt idx="1096">
                  <c:v>1.3500660278556347</c:v>
                </c:pt>
                <c:pt idx="1097">
                  <c:v>1.3534763683086202</c:v>
                </c:pt>
                <c:pt idx="1098">
                  <c:v>1.3561478493318164</c:v>
                </c:pt>
                <c:pt idx="1099">
                  <c:v>1.3266961957053032</c:v>
                </c:pt>
                <c:pt idx="1100">
                  <c:v>1.2819980205644554</c:v>
                </c:pt>
                <c:pt idx="1101">
                  <c:v>1.3136333099911401</c:v>
                </c:pt>
                <c:pt idx="1102">
                  <c:v>1.315702437189278</c:v>
                </c:pt>
                <c:pt idx="1103">
                  <c:v>1.3034532299168404</c:v>
                </c:pt>
                <c:pt idx="1104">
                  <c:v>1.2084887923726566</c:v>
                </c:pt>
                <c:pt idx="1105">
                  <c:v>1.2395366806979529</c:v>
                </c:pt>
                <c:pt idx="1106">
                  <c:v>1.2482519390034237</c:v>
                </c:pt>
                <c:pt idx="1107">
                  <c:v>1.2437104562255361</c:v>
                </c:pt>
                <c:pt idx="1108">
                  <c:v>1.2490825880733254</c:v>
                </c:pt>
                <c:pt idx="1109">
                  <c:v>1.1672238915063495</c:v>
                </c:pt>
                <c:pt idx="1110">
                  <c:v>1.1876515183471366</c:v>
                </c:pt>
                <c:pt idx="1111">
                  <c:v>1.1362660978667327</c:v>
                </c:pt>
                <c:pt idx="1112">
                  <c:v>1.0784200909075825</c:v>
                </c:pt>
                <c:pt idx="1113">
                  <c:v>1.0152716676534341</c:v>
                </c:pt>
                <c:pt idx="1114">
                  <c:v>1.0776532648026378</c:v>
                </c:pt>
                <c:pt idx="1115">
                  <c:v>1.0880655617501487</c:v>
                </c:pt>
                <c:pt idx="1116">
                  <c:v>1.0954231273608337</c:v>
                </c:pt>
                <c:pt idx="1117">
                  <c:v>1.0771567512050721</c:v>
                </c:pt>
                <c:pt idx="1118">
                  <c:v>1.0790352122369831</c:v>
                </c:pt>
                <c:pt idx="1119">
                  <c:v>1.0954644519980543</c:v>
                </c:pt>
                <c:pt idx="1120">
                  <c:v>1.0866514610717928</c:v>
                </c:pt>
                <c:pt idx="1121">
                  <c:v>1.0649757430727393</c:v>
                </c:pt>
                <c:pt idx="1122">
                  <c:v>1.0689076928874535</c:v>
                </c:pt>
                <c:pt idx="1123">
                  <c:v>1.0516074740937764</c:v>
                </c:pt>
                <c:pt idx="1124">
                  <c:v>1.0618536237540321</c:v>
                </c:pt>
                <c:pt idx="1125">
                  <c:v>1.1228711279093753</c:v>
                </c:pt>
                <c:pt idx="1126">
                  <c:v>1.0968816013188603</c:v>
                </c:pt>
                <c:pt idx="1127">
                  <c:v>1.0955640762462457</c:v>
                </c:pt>
                <c:pt idx="1128">
                  <c:v>1.1034814895817062</c:v>
                </c:pt>
                <c:pt idx="1129">
                  <c:v>1.0971489935184255</c:v>
                </c:pt>
                <c:pt idx="1130">
                  <c:v>1.1312883510994589</c:v>
                </c:pt>
                <c:pt idx="1131">
                  <c:v>1.143802938136776</c:v>
                </c:pt>
                <c:pt idx="1132">
                  <c:v>1.1216111683213685</c:v>
                </c:pt>
                <c:pt idx="1133">
                  <c:v>1.1632166192183659</c:v>
                </c:pt>
                <c:pt idx="1134">
                  <c:v>1.1536561795635474</c:v>
                </c:pt>
                <c:pt idx="1135">
                  <c:v>1.1631072584347735</c:v>
                </c:pt>
                <c:pt idx="1136">
                  <c:v>1.1249851611924597</c:v>
                </c:pt>
                <c:pt idx="1137">
                  <c:v>1.1230167704298386</c:v>
                </c:pt>
                <c:pt idx="1138">
                  <c:v>1.1291395525054715</c:v>
                </c:pt>
                <c:pt idx="1139">
                  <c:v>1.0974177902930184</c:v>
                </c:pt>
                <c:pt idx="1140">
                  <c:v>1.0518611257941746</c:v>
                </c:pt>
                <c:pt idx="1141">
                  <c:v>1.0002297585517399</c:v>
                </c:pt>
                <c:pt idx="1142">
                  <c:v>1.0020444692126038</c:v>
                </c:pt>
                <c:pt idx="1143">
                  <c:v>0.99472522817604814</c:v>
                </c:pt>
                <c:pt idx="1144">
                  <c:v>0.98579404160966433</c:v>
                </c:pt>
                <c:pt idx="1145">
                  <c:v>0.98785572060457372</c:v>
                </c:pt>
                <c:pt idx="1146">
                  <c:v>0.97019829477421482</c:v>
                </c:pt>
                <c:pt idx="1147">
                  <c:v>0.98632008588893472</c:v>
                </c:pt>
                <c:pt idx="1148">
                  <c:v>1.0203201057901232</c:v>
                </c:pt>
                <c:pt idx="1149">
                  <c:v>1.0219233395064211</c:v>
                </c:pt>
                <c:pt idx="1150">
                  <c:v>0.98518487976208124</c:v>
                </c:pt>
                <c:pt idx="1151">
                  <c:v>1.0405217880457129</c:v>
                </c:pt>
                <c:pt idx="1152">
                  <c:v>1.0385537918156293</c:v>
                </c:pt>
                <c:pt idx="1153">
                  <c:v>1.0373118691977319</c:v>
                </c:pt>
                <c:pt idx="1154">
                  <c:v>1.0494313872565171</c:v>
                </c:pt>
                <c:pt idx="1155">
                  <c:v>1.045453238130849</c:v>
                </c:pt>
                <c:pt idx="1156">
                  <c:v>0.98314045857665766</c:v>
                </c:pt>
                <c:pt idx="1157">
                  <c:v>1.0059824278590999</c:v>
                </c:pt>
                <c:pt idx="1158">
                  <c:v>1.005236932430648</c:v>
                </c:pt>
                <c:pt idx="1159">
                  <c:v>1.0597415996668784</c:v>
                </c:pt>
                <c:pt idx="1160">
                  <c:v>1.0657500766157368</c:v>
                </c:pt>
                <c:pt idx="1161">
                  <c:v>1.0341869176532643</c:v>
                </c:pt>
                <c:pt idx="1162">
                  <c:v>1.0178105322553361</c:v>
                </c:pt>
                <c:pt idx="1163">
                  <c:v>1.0499795184894372</c:v>
                </c:pt>
                <c:pt idx="1164">
                  <c:v>0.96865575851002017</c:v>
                </c:pt>
                <c:pt idx="1165">
                  <c:v>0.99640633849742666</c:v>
                </c:pt>
                <c:pt idx="1166">
                  <c:v>1.0222341124444829</c:v>
                </c:pt>
                <c:pt idx="1167">
                  <c:v>1.0508528026813386</c:v>
                </c:pt>
                <c:pt idx="1168">
                  <c:v>1.0404549253153172</c:v>
                </c:pt>
                <c:pt idx="1169">
                  <c:v>1.0385052326683619</c:v>
                </c:pt>
                <c:pt idx="1170">
                  <c:v>1.0513844431566535</c:v>
                </c:pt>
                <c:pt idx="1171">
                  <c:v>1.0738275426705388</c:v>
                </c:pt>
                <c:pt idx="1172">
                  <c:v>1.0743785400462105</c:v>
                </c:pt>
                <c:pt idx="1173">
                  <c:v>1.0667298032389823</c:v>
                </c:pt>
                <c:pt idx="1174">
                  <c:v>1.0743319004190759</c:v>
                </c:pt>
                <c:pt idx="1175">
                  <c:v>1.1081115389687526</c:v>
                </c:pt>
                <c:pt idx="1176">
                  <c:v>1.098612321184349</c:v>
                </c:pt>
                <c:pt idx="1177">
                  <c:v>1.0966091431787466</c:v>
                </c:pt>
                <c:pt idx="1178">
                  <c:v>1.0714182139796349</c:v>
                </c:pt>
                <c:pt idx="1179">
                  <c:v>1.0899761267978521</c:v>
                </c:pt>
                <c:pt idx="1180">
                  <c:v>1.1209128384481326</c:v>
                </c:pt>
                <c:pt idx="1181">
                  <c:v>1.1228540823822926</c:v>
                </c:pt>
                <c:pt idx="1182">
                  <c:v>1.0983829756921408</c:v>
                </c:pt>
                <c:pt idx="1183">
                  <c:v>1.1253790759189228</c:v>
                </c:pt>
                <c:pt idx="1184">
                  <c:v>1.1440305094059391</c:v>
                </c:pt>
                <c:pt idx="1185">
                  <c:v>1.1882850206590085</c:v>
                </c:pt>
                <c:pt idx="1186">
                  <c:v>1.207145393065806</c:v>
                </c:pt>
                <c:pt idx="1187">
                  <c:v>1.2435723774933714</c:v>
                </c:pt>
                <c:pt idx="1188">
                  <c:v>1.2208849249622176</c:v>
                </c:pt>
                <c:pt idx="1189">
                  <c:v>1.2210260976665468</c:v>
                </c:pt>
                <c:pt idx="1190">
                  <c:v>1.1819079708729034</c:v>
                </c:pt>
                <c:pt idx="1191">
                  <c:v>1.1810249785673461</c:v>
                </c:pt>
                <c:pt idx="1192">
                  <c:v>1.1881778766946753</c:v>
                </c:pt>
                <c:pt idx="1193">
                  <c:v>1.2107446389082883</c:v>
                </c:pt>
                <c:pt idx="1194">
                  <c:v>1.1785070745359076</c:v>
                </c:pt>
                <c:pt idx="1195">
                  <c:v>1.2223511629607093</c:v>
                </c:pt>
                <c:pt idx="1196">
                  <c:v>1.2020508460789587</c:v>
                </c:pt>
                <c:pt idx="1197">
                  <c:v>1.2270923758726282</c:v>
                </c:pt>
                <c:pt idx="1198">
                  <c:v>1.1937215683716615</c:v>
                </c:pt>
                <c:pt idx="1199">
                  <c:v>1.1665038288817142</c:v>
                </c:pt>
                <c:pt idx="1200">
                  <c:v>1.1598946930324026</c:v>
                </c:pt>
                <c:pt idx="1201">
                  <c:v>1.1643559297666652</c:v>
                </c:pt>
                <c:pt idx="1202">
                  <c:v>1.1820421548802642</c:v>
                </c:pt>
                <c:pt idx="1203">
                  <c:v>1.1822681863757178</c:v>
                </c:pt>
                <c:pt idx="1204">
                  <c:v>1.2054368770350978</c:v>
                </c:pt>
                <c:pt idx="1205">
                  <c:v>1.219580484896255</c:v>
                </c:pt>
                <c:pt idx="1206">
                  <c:v>1.216311275241486</c:v>
                </c:pt>
                <c:pt idx="1207">
                  <c:v>1.2095961291682957</c:v>
                </c:pt>
                <c:pt idx="1208">
                  <c:v>1.2096000405359268</c:v>
                </c:pt>
                <c:pt idx="1209">
                  <c:v>1.2074585413306154</c:v>
                </c:pt>
                <c:pt idx="1210">
                  <c:v>1.1899208431249639</c:v>
                </c:pt>
                <c:pt idx="1211">
                  <c:v>1.1995053640061675</c:v>
                </c:pt>
                <c:pt idx="1212">
                  <c:v>1.2382537999611702</c:v>
                </c:pt>
                <c:pt idx="1213">
                  <c:v>1.2428568374030733</c:v>
                </c:pt>
                <c:pt idx="1214">
                  <c:v>1.243787486602095</c:v>
                </c:pt>
                <c:pt idx="1215">
                  <c:v>1.2233938340200508</c:v>
                </c:pt>
                <c:pt idx="1216">
                  <c:v>1.1891543032715508</c:v>
                </c:pt>
                <c:pt idx="1217">
                  <c:v>1.1677787940478952</c:v>
                </c:pt>
                <c:pt idx="1218">
                  <c:v>1.1994685202967166</c:v>
                </c:pt>
                <c:pt idx="1219">
                  <c:v>1.1997768609741697</c:v>
                </c:pt>
                <c:pt idx="1220">
                  <c:v>1.2016306125562286</c:v>
                </c:pt>
                <c:pt idx="1221">
                  <c:v>1.194318269571498</c:v>
                </c:pt>
                <c:pt idx="1222">
                  <c:v>1.2306145855077923</c:v>
                </c:pt>
                <c:pt idx="1223">
                  <c:v>1.2212907855198523</c:v>
                </c:pt>
                <c:pt idx="1224">
                  <c:v>1.2158728003646866</c:v>
                </c:pt>
                <c:pt idx="1225">
                  <c:v>1.2226497753315453</c:v>
                </c:pt>
                <c:pt idx="1226">
                  <c:v>1.1869169423160948</c:v>
                </c:pt>
                <c:pt idx="1227">
                  <c:v>1.1785711232136638</c:v>
                </c:pt>
                <c:pt idx="1228">
                  <c:v>1.1758478066978428</c:v>
                </c:pt>
                <c:pt idx="1229">
                  <c:v>1.1749091934712337</c:v>
                </c:pt>
                <c:pt idx="1230">
                  <c:v>1.1745033267369351</c:v>
                </c:pt>
                <c:pt idx="1231">
                  <c:v>1.1811882116740957</c:v>
                </c:pt>
                <c:pt idx="1232">
                  <c:v>1.1676240004605987</c:v>
                </c:pt>
                <c:pt idx="1233">
                  <c:v>1.1963722044635201</c:v>
                </c:pt>
                <c:pt idx="1234">
                  <c:v>1.2463240573438268</c:v>
                </c:pt>
                <c:pt idx="1235">
                  <c:v>1.2925437951441301</c:v>
                </c:pt>
                <c:pt idx="1236">
                  <c:v>1.3005838225850312</c:v>
                </c:pt>
                <c:pt idx="1237">
                  <c:v>1.3163775645585567</c:v>
                </c:pt>
                <c:pt idx="1238">
                  <c:v>1.3360426237486278</c:v>
                </c:pt>
                <c:pt idx="1239">
                  <c:v>1.3446324996592134</c:v>
                </c:pt>
                <c:pt idx="1240">
                  <c:v>1.347347374004402</c:v>
                </c:pt>
                <c:pt idx="1241">
                  <c:v>1.2843260229915658</c:v>
                </c:pt>
                <c:pt idx="1242">
                  <c:v>1.2688831767065996</c:v>
                </c:pt>
                <c:pt idx="1243">
                  <c:v>1.315645554777749</c:v>
                </c:pt>
                <c:pt idx="1244">
                  <c:v>1.3054497021069718</c:v>
                </c:pt>
                <c:pt idx="1245">
                  <c:v>1.2994917947917877</c:v>
                </c:pt>
                <c:pt idx="1246">
                  <c:v>1.3226386952904292</c:v>
                </c:pt>
                <c:pt idx="1247">
                  <c:v>1.3255611106488128</c:v>
                </c:pt>
                <c:pt idx="1248">
                  <c:v>1.2792548234131482</c:v>
                </c:pt>
                <c:pt idx="1249">
                  <c:v>1.224292817599534</c:v>
                </c:pt>
                <c:pt idx="1250">
                  <c:v>1.2214621944510269</c:v>
                </c:pt>
                <c:pt idx="1251">
                  <c:v>1.21143192620467</c:v>
                </c:pt>
                <c:pt idx="1252">
                  <c:v>1.2289154235664752</c:v>
                </c:pt>
                <c:pt idx="1253">
                  <c:v>1.1387088519293973</c:v>
                </c:pt>
                <c:pt idx="1254">
                  <c:v>1.1233761518274386</c:v>
                </c:pt>
                <c:pt idx="1255">
                  <c:v>1.1250205254997347</c:v>
                </c:pt>
                <c:pt idx="1256">
                  <c:v>1.0790562383821327</c:v>
                </c:pt>
                <c:pt idx="1257">
                  <c:v>1.0668941961630738</c:v>
                </c:pt>
                <c:pt idx="1258">
                  <c:v>1.107470235528091</c:v>
                </c:pt>
                <c:pt idx="1259">
                  <c:v>0.98776417454579124</c:v>
                </c:pt>
                <c:pt idx="1260">
                  <c:v>0.9859820714198051</c:v>
                </c:pt>
                <c:pt idx="1261">
                  <c:v>0.93420462403581161</c:v>
                </c:pt>
                <c:pt idx="1262">
                  <c:v>0.93172484285635471</c:v>
                </c:pt>
                <c:pt idx="1263">
                  <c:v>0.89370282039545756</c:v>
                </c:pt>
                <c:pt idx="1264">
                  <c:v>0.90357961964193145</c:v>
                </c:pt>
                <c:pt idx="1265">
                  <c:v>0.91990777938913237</c:v>
                </c:pt>
                <c:pt idx="1266">
                  <c:v>0.93457218088830485</c:v>
                </c:pt>
                <c:pt idx="1267">
                  <c:v>0.95793819810979919</c:v>
                </c:pt>
                <c:pt idx="1268">
                  <c:v>0.93904801943015614</c:v>
                </c:pt>
                <c:pt idx="1269">
                  <c:v>0.95584585071159878</c:v>
                </c:pt>
                <c:pt idx="1270">
                  <c:v>0.96267671188873294</c:v>
                </c:pt>
                <c:pt idx="1271">
                  <c:v>0.92413819196560731</c:v>
                </c:pt>
                <c:pt idx="1272">
                  <c:v>0.88909595258511043</c:v>
                </c:pt>
                <c:pt idx="1273">
                  <c:v>0.87063763557126206</c:v>
                </c:pt>
                <c:pt idx="1274">
                  <c:v>0.86626165060669014</c:v>
                </c:pt>
                <c:pt idx="1275">
                  <c:v>0.90983881356351537</c:v>
                </c:pt>
                <c:pt idx="1276">
                  <c:v>1.0564839230058785</c:v>
                </c:pt>
                <c:pt idx="1277">
                  <c:v>1.1113216001341506</c:v>
                </c:pt>
                <c:pt idx="1278">
                  <c:v>1.1333657174373875</c:v>
                </c:pt>
                <c:pt idx="1279">
                  <c:v>1.1457046477102835</c:v>
                </c:pt>
                <c:pt idx="1280">
                  <c:v>1.1521594498373309</c:v>
                </c:pt>
                <c:pt idx="1281">
                  <c:v>1.142854283790586</c:v>
                </c:pt>
                <c:pt idx="1282">
                  <c:v>1.1426484986196974</c:v>
                </c:pt>
                <c:pt idx="1283">
                  <c:v>1.1603632171432028</c:v>
                </c:pt>
                <c:pt idx="1284">
                  <c:v>1.159614785871973</c:v>
                </c:pt>
                <c:pt idx="1285">
                  <c:v>1.1861863531992467</c:v>
                </c:pt>
                <c:pt idx="1286">
                  <c:v>1.2014252289032219</c:v>
                </c:pt>
                <c:pt idx="1287">
                  <c:v>1.197085618698438</c:v>
                </c:pt>
                <c:pt idx="1288">
                  <c:v>1.1955985588727067</c:v>
                </c:pt>
                <c:pt idx="1289">
                  <c:v>1.1580775690401648</c:v>
                </c:pt>
                <c:pt idx="1290">
                  <c:v>1.2121412671850185</c:v>
                </c:pt>
                <c:pt idx="1291">
                  <c:v>1.213181900038343</c:v>
                </c:pt>
                <c:pt idx="1292">
                  <c:v>1.1932586628887885</c:v>
                </c:pt>
                <c:pt idx="1293">
                  <c:v>1.2092334726585467</c:v>
                </c:pt>
                <c:pt idx="1294">
                  <c:v>1.1935204995288928</c:v>
                </c:pt>
                <c:pt idx="1295">
                  <c:v>1.2123628400417006</c:v>
                </c:pt>
                <c:pt idx="1296">
                  <c:v>1.260490602559093</c:v>
                </c:pt>
                <c:pt idx="1297">
                  <c:v>1.1930742795648304</c:v>
                </c:pt>
                <c:pt idx="1298">
                  <c:v>1.1317707127490793</c:v>
                </c:pt>
                <c:pt idx="1299">
                  <c:v>1.1409830698092753</c:v>
                </c:pt>
                <c:pt idx="1300">
                  <c:v>1.061373324204699</c:v>
                </c:pt>
                <c:pt idx="1301">
                  <c:v>1.0832494922064773</c:v>
                </c:pt>
                <c:pt idx="1302">
                  <c:v>1.0896071108036962</c:v>
                </c:pt>
                <c:pt idx="1303">
                  <c:v>1.054589457908234</c:v>
                </c:pt>
                <c:pt idx="1304">
                  <c:v>1.0234675404973099</c:v>
                </c:pt>
                <c:pt idx="1305">
                  <c:v>0.99401337045593141</c:v>
                </c:pt>
                <c:pt idx="1306">
                  <c:v>1.0016447763875751</c:v>
                </c:pt>
                <c:pt idx="1307">
                  <c:v>0.99486628484997031</c:v>
                </c:pt>
                <c:pt idx="1308">
                  <c:v>0.99334592616684037</c:v>
                </c:pt>
                <c:pt idx="1309">
                  <c:v>1.0319946236419091</c:v>
                </c:pt>
                <c:pt idx="1310">
                  <c:v>1.0681035349114441</c:v>
                </c:pt>
                <c:pt idx="1311">
                  <c:v>1.1049186220216953</c:v>
                </c:pt>
                <c:pt idx="1312">
                  <c:v>1.1123906252867315</c:v>
                </c:pt>
                <c:pt idx="1313">
                  <c:v>1.0962383384208267</c:v>
                </c:pt>
                <c:pt idx="1314">
                  <c:v>1.0968870909635959</c:v>
                </c:pt>
                <c:pt idx="1315">
                  <c:v>1.1132590922384655</c:v>
                </c:pt>
                <c:pt idx="1316">
                  <c:v>1.1467395575732202</c:v>
                </c:pt>
                <c:pt idx="1317">
                  <c:v>1.1513704783841832</c:v>
                </c:pt>
                <c:pt idx="1318">
                  <c:v>1.1414036821350269</c:v>
                </c:pt>
                <c:pt idx="1319">
                  <c:v>1.1471349068979007</c:v>
                </c:pt>
                <c:pt idx="1320">
                  <c:v>1.1808709197165697</c:v>
                </c:pt>
                <c:pt idx="1321">
                  <c:v>1.1759490333480687</c:v>
                </c:pt>
                <c:pt idx="1322">
                  <c:v>1.1820820887383954</c:v>
                </c:pt>
                <c:pt idx="1323">
                  <c:v>1.1853148032466725</c:v>
                </c:pt>
                <c:pt idx="1324">
                  <c:v>1.1819016934175297</c:v>
                </c:pt>
                <c:pt idx="1325">
                  <c:v>1.2079513448864163</c:v>
                </c:pt>
                <c:pt idx="1326">
                  <c:v>1.208796700179807</c:v>
                </c:pt>
                <c:pt idx="1327">
                  <c:v>1.1938726179777255</c:v>
                </c:pt>
                <c:pt idx="1328">
                  <c:v>1.205608488671587</c:v>
                </c:pt>
                <c:pt idx="1329">
                  <c:v>1.2518998036103246</c:v>
                </c:pt>
                <c:pt idx="1330">
                  <c:v>1.2316766263220051</c:v>
                </c:pt>
                <c:pt idx="1331">
                  <c:v>1.2480218325909427</c:v>
                </c:pt>
                <c:pt idx="1332">
                  <c:v>1.2436552957406064</c:v>
                </c:pt>
                <c:pt idx="1333">
                  <c:v>1.2258396288662412</c:v>
                </c:pt>
                <c:pt idx="1334">
                  <c:v>1.2260619711047425</c:v>
                </c:pt>
                <c:pt idx="1335">
                  <c:v>1.2910548325478512</c:v>
                </c:pt>
                <c:pt idx="1336">
                  <c:v>1.2159514173939538</c:v>
                </c:pt>
                <c:pt idx="1337">
                  <c:v>1.2293997136464521</c:v>
                </c:pt>
                <c:pt idx="1338">
                  <c:v>1.2605770994492613</c:v>
                </c:pt>
                <c:pt idx="1339">
                  <c:v>1.306731126345102</c:v>
                </c:pt>
                <c:pt idx="1340">
                  <c:v>1.283809016714655</c:v>
                </c:pt>
                <c:pt idx="1341">
                  <c:v>1.2510436933139646</c:v>
                </c:pt>
                <c:pt idx="1342">
                  <c:v>1.2662462516795354</c:v>
                </c:pt>
                <c:pt idx="1343">
                  <c:v>1.2410875390438392</c:v>
                </c:pt>
                <c:pt idx="1344">
                  <c:v>1.2516189086431695</c:v>
                </c:pt>
                <c:pt idx="1345">
                  <c:v>1.2882572206926175</c:v>
                </c:pt>
                <c:pt idx="1346">
                  <c:v>1.2748096210385587</c:v>
                </c:pt>
                <c:pt idx="1347">
                  <c:v>1.2960939664594049</c:v>
                </c:pt>
                <c:pt idx="1348">
                  <c:v>1.2939278369800333</c:v>
                </c:pt>
                <c:pt idx="1349">
                  <c:v>1.3293273422282783</c:v>
                </c:pt>
                <c:pt idx="1350">
                  <c:v>1.2998894080337291</c:v>
                </c:pt>
                <c:pt idx="1351">
                  <c:v>1.2643287989395624</c:v>
                </c:pt>
                <c:pt idx="1352">
                  <c:v>1.2712673381949564</c:v>
                </c:pt>
                <c:pt idx="1353">
                  <c:v>1.2532250010376453</c:v>
                </c:pt>
                <c:pt idx="1354">
                  <c:v>1.2487589538142188</c:v>
                </c:pt>
                <c:pt idx="1355">
                  <c:v>1.2448438171241634</c:v>
                </c:pt>
                <c:pt idx="1356">
                  <c:v>1.2101148972375013</c:v>
                </c:pt>
                <c:pt idx="1357">
                  <c:v>1.2370271335068834</c:v>
                </c:pt>
                <c:pt idx="1358">
                  <c:v>1.1796762814570179</c:v>
                </c:pt>
                <c:pt idx="1359">
                  <c:v>1.1847038557405185</c:v>
                </c:pt>
                <c:pt idx="1360">
                  <c:v>1.1999276859931614</c:v>
                </c:pt>
                <c:pt idx="1361">
                  <c:v>1.2027592828463716</c:v>
                </c:pt>
                <c:pt idx="1362">
                  <c:v>1.2604280720180674</c:v>
                </c:pt>
                <c:pt idx="1363">
                  <c:v>1.2449577442412396</c:v>
                </c:pt>
                <c:pt idx="1364">
                  <c:v>1.2775419105975869</c:v>
                </c:pt>
                <c:pt idx="1365">
                  <c:v>1.2748324789800285</c:v>
                </c:pt>
                <c:pt idx="1366">
                  <c:v>1.2748324789800285</c:v>
                </c:pt>
                <c:pt idx="1367">
                  <c:v>1.2745048374349783</c:v>
                </c:pt>
                <c:pt idx="1368">
                  <c:v>1.2686736787786705</c:v>
                </c:pt>
                <c:pt idx="1369">
                  <c:v>1.2559473141473643</c:v>
                </c:pt>
                <c:pt idx="1370">
                  <c:v>1.2513724078889565</c:v>
                </c:pt>
                <c:pt idx="1371">
                  <c:v>1.2287974714355698</c:v>
                </c:pt>
                <c:pt idx="1372">
                  <c:v>1.2402573440902864</c:v>
                </c:pt>
                <c:pt idx="1373">
                  <c:v>1.2360711257678452</c:v>
                </c:pt>
                <c:pt idx="1374">
                  <c:v>1.2485739822883186</c:v>
                </c:pt>
                <c:pt idx="1375">
                  <c:v>1.2187145528343875</c:v>
                </c:pt>
                <c:pt idx="1376">
                  <c:v>1.248870715693233</c:v>
                </c:pt>
                <c:pt idx="1377">
                  <c:v>1.2471509898155273</c:v>
                </c:pt>
                <c:pt idx="1378">
                  <c:v>1.258959119477725</c:v>
                </c:pt>
                <c:pt idx="1379">
                  <c:v>1.2969625391494499</c:v>
                </c:pt>
                <c:pt idx="1380">
                  <c:v>1.3025908013259284</c:v>
                </c:pt>
                <c:pt idx="1381">
                  <c:v>1.3297314790782429</c:v>
                </c:pt>
                <c:pt idx="1382">
                  <c:v>1.3117454513099167</c:v>
                </c:pt>
                <c:pt idx="1383">
                  <c:v>1.3157397853662776</c:v>
                </c:pt>
                <c:pt idx="1384">
                  <c:v>1.2913672008037942</c:v>
                </c:pt>
                <c:pt idx="1385">
                  <c:v>1.2857344664741508</c:v>
                </c:pt>
                <c:pt idx="1386">
                  <c:v>1.2732674080777839</c:v>
                </c:pt>
                <c:pt idx="1387">
                  <c:v>1.2710113659889581</c:v>
                </c:pt>
                <c:pt idx="1388">
                  <c:v>1.2363908627903224</c:v>
                </c:pt>
                <c:pt idx="1389">
                  <c:v>1.2374799227218938</c:v>
                </c:pt>
                <c:pt idx="1390">
                  <c:v>1.2253971925746734</c:v>
                </c:pt>
                <c:pt idx="1391">
                  <c:v>1.252388942987013</c:v>
                </c:pt>
                <c:pt idx="1392">
                  <c:v>1.2509402055451975</c:v>
                </c:pt>
                <c:pt idx="1393">
                  <c:v>1.2226925162310067</c:v>
                </c:pt>
                <c:pt idx="1394">
                  <c:v>1.1917767525660954</c:v>
                </c:pt>
                <c:pt idx="1395">
                  <c:v>1.1934107621903809</c:v>
                </c:pt>
                <c:pt idx="1396">
                  <c:v>1.1903979636356725</c:v>
                </c:pt>
                <c:pt idx="1397">
                  <c:v>1.1495298711782924</c:v>
                </c:pt>
                <c:pt idx="1398">
                  <c:v>1.161891209535427</c:v>
                </c:pt>
                <c:pt idx="1399">
                  <c:v>1.2040901620225823</c:v>
                </c:pt>
                <c:pt idx="1400">
                  <c:v>1.190732854666736</c:v>
                </c:pt>
                <c:pt idx="1401">
                  <c:v>1.1788086750924078</c:v>
                </c:pt>
                <c:pt idx="1402">
                  <c:v>1.1806642016209548</c:v>
                </c:pt>
                <c:pt idx="1403">
                  <c:v>1.1530869274974851</c:v>
                </c:pt>
                <c:pt idx="1404">
                  <c:v>1.1933551688997637</c:v>
                </c:pt>
                <c:pt idx="1405">
                  <c:v>1.1610534704699527</c:v>
                </c:pt>
                <c:pt idx="1406">
                  <c:v>1.1853786655095326</c:v>
                </c:pt>
                <c:pt idx="1407">
                  <c:v>1.1703184016712382</c:v>
                </c:pt>
                <c:pt idx="1408">
                  <c:v>1.2042103556460391</c:v>
                </c:pt>
                <c:pt idx="1409">
                  <c:v>1.1600862036935009</c:v>
                </c:pt>
                <c:pt idx="1410">
                  <c:v>1.1132645977107725</c:v>
                </c:pt>
                <c:pt idx="1411">
                  <c:v>1.0493600712528486</c:v>
                </c:pt>
                <c:pt idx="1412">
                  <c:v>1.0541712333616919</c:v>
                </c:pt>
                <c:pt idx="1413">
                  <c:v>1.0545453079178779</c:v>
                </c:pt>
                <c:pt idx="1414">
                  <c:v>1.0524748100579178</c:v>
                </c:pt>
                <c:pt idx="1415">
                  <c:v>1.065375899132138</c:v>
                </c:pt>
                <c:pt idx="1416">
                  <c:v>1.0637518305456612</c:v>
                </c:pt>
                <c:pt idx="1417">
                  <c:v>1.0563407115721375</c:v>
                </c:pt>
                <c:pt idx="1418">
                  <c:v>1.0528430531772788</c:v>
                </c:pt>
                <c:pt idx="1419">
                  <c:v>1.0977730145152267</c:v>
                </c:pt>
                <c:pt idx="1420">
                  <c:v>1.0935705551722688</c:v>
                </c:pt>
                <c:pt idx="1421">
                  <c:v>1.0932678645491749</c:v>
                </c:pt>
                <c:pt idx="1422">
                  <c:v>1.0512183407836826</c:v>
                </c:pt>
                <c:pt idx="1423">
                  <c:v>1.1232952675341044</c:v>
                </c:pt>
                <c:pt idx="1424">
                  <c:v>1.1260951658632785</c:v>
                </c:pt>
                <c:pt idx="1425">
                  <c:v>1.121173060797513</c:v>
                </c:pt>
                <c:pt idx="1426">
                  <c:v>1.0592530336266739</c:v>
                </c:pt>
                <c:pt idx="1427">
                  <c:v>1.0695332114163547</c:v>
                </c:pt>
                <c:pt idx="1428">
                  <c:v>1.0664168726330989</c:v>
                </c:pt>
                <c:pt idx="1429">
                  <c:v>1.0762662459903054</c:v>
                </c:pt>
                <c:pt idx="1430">
                  <c:v>1.0530585254697462</c:v>
                </c:pt>
                <c:pt idx="1431">
                  <c:v>1.0531551162695512</c:v>
                </c:pt>
                <c:pt idx="1432">
                  <c:v>1.0141325017880036</c:v>
                </c:pt>
                <c:pt idx="1433">
                  <c:v>1.0146422644120352</c:v>
                </c:pt>
                <c:pt idx="1434">
                  <c:v>1.0292026353037231</c:v>
                </c:pt>
                <c:pt idx="1435">
                  <c:v>0.99815345642874231</c:v>
                </c:pt>
                <c:pt idx="1436">
                  <c:v>1.0415587987160375</c:v>
                </c:pt>
                <c:pt idx="1437">
                  <c:v>1.0232487793865814</c:v>
                </c:pt>
                <c:pt idx="1438">
                  <c:v>0.98644708396465197</c:v>
                </c:pt>
                <c:pt idx="1439">
                  <c:v>1.0260242718628114</c:v>
                </c:pt>
                <c:pt idx="1440">
                  <c:v>1.0283019723002376</c:v>
                </c:pt>
                <c:pt idx="1441">
                  <c:v>1.0229853003495124</c:v>
                </c:pt>
                <c:pt idx="1442">
                  <c:v>1.0211826371881887</c:v>
                </c:pt>
                <c:pt idx="1443">
                  <c:v>1.0460170232377795</c:v>
                </c:pt>
                <c:pt idx="1444">
                  <c:v>1.0424133495873167</c:v>
                </c:pt>
                <c:pt idx="1445">
                  <c:v>1.0201776147276502</c:v>
                </c:pt>
                <c:pt idx="1446">
                  <c:v>1.0432605010821985</c:v>
                </c:pt>
                <c:pt idx="1447">
                  <c:v>1.0382354758077796</c:v>
                </c:pt>
                <c:pt idx="1448">
                  <c:v>1.0375827988725186</c:v>
                </c:pt>
                <c:pt idx="1449">
                  <c:v>1.0385113415132323</c:v>
                </c:pt>
                <c:pt idx="1450">
                  <c:v>1.0416147513944782</c:v>
                </c:pt>
                <c:pt idx="1451">
                  <c:v>1.041998699770101</c:v>
                </c:pt>
                <c:pt idx="1452">
                  <c:v>1.0374275463754059</c:v>
                </c:pt>
                <c:pt idx="1453">
                  <c:v>1.0556039905884389</c:v>
                </c:pt>
                <c:pt idx="1454">
                  <c:v>1.0003472515361422</c:v>
                </c:pt>
                <c:pt idx="1455">
                  <c:v>0.96545671403054956</c:v>
                </c:pt>
                <c:pt idx="1456">
                  <c:v>0.99673359001408479</c:v>
                </c:pt>
                <c:pt idx="1457">
                  <c:v>1.0125050378209992</c:v>
                </c:pt>
                <c:pt idx="1458">
                  <c:v>1.053310194383116</c:v>
                </c:pt>
                <c:pt idx="1459">
                  <c:v>1.0319623232265502</c:v>
                </c:pt>
                <c:pt idx="1460">
                  <c:v>1.024255092554416</c:v>
                </c:pt>
                <c:pt idx="1461">
                  <c:v>1.0250195906861108</c:v>
                </c:pt>
                <c:pt idx="1462">
                  <c:v>1.0499459279471983</c:v>
                </c:pt>
                <c:pt idx="1463">
                  <c:v>1.0547915250372095</c:v>
                </c:pt>
                <c:pt idx="1464">
                  <c:v>1.0505534639632392</c:v>
                </c:pt>
                <c:pt idx="1465">
                  <c:v>1.0474373232974652</c:v>
                </c:pt>
                <c:pt idx="1466">
                  <c:v>1.0434383814648465</c:v>
                </c:pt>
                <c:pt idx="1467">
                  <c:v>1.030786003468342</c:v>
                </c:pt>
                <c:pt idx="1468">
                  <c:v>1.0277511727642443</c:v>
                </c:pt>
                <c:pt idx="1469">
                  <c:v>1.0254888160423576</c:v>
                </c:pt>
                <c:pt idx="1470">
                  <c:v>1.0053554445530561</c:v>
                </c:pt>
                <c:pt idx="1471">
                  <c:v>1.0249054506615225</c:v>
                </c:pt>
                <c:pt idx="1472">
                  <c:v>1.068497186032392</c:v>
                </c:pt>
                <c:pt idx="1473">
                  <c:v>1.0623569859474724</c:v>
                </c:pt>
                <c:pt idx="1474">
                  <c:v>1.0514984699266399</c:v>
                </c:pt>
                <c:pt idx="1475">
                  <c:v>1.0552842964038454</c:v>
                </c:pt>
                <c:pt idx="1476">
                  <c:v>1.0340421779629938</c:v>
                </c:pt>
                <c:pt idx="1477">
                  <c:v>0.97411134026137192</c:v>
                </c:pt>
                <c:pt idx="1478">
                  <c:v>0.97588096400840729</c:v>
                </c:pt>
                <c:pt idx="1479">
                  <c:v>0.96829125628048873</c:v>
                </c:pt>
                <c:pt idx="1480">
                  <c:v>1.0493278954921879</c:v>
                </c:pt>
                <c:pt idx="1481">
                  <c:v>1.0491220087517521</c:v>
                </c:pt>
                <c:pt idx="1482">
                  <c:v>1.0852789146485085</c:v>
                </c:pt>
                <c:pt idx="1483">
                  <c:v>1.10372244056486</c:v>
                </c:pt>
                <c:pt idx="1484">
                  <c:v>1.1521623429517771</c:v>
                </c:pt>
                <c:pt idx="1485">
                  <c:v>1.1670496759935107</c:v>
                </c:pt>
                <c:pt idx="1486">
                  <c:v>1.1682821687445424</c:v>
                </c:pt>
                <c:pt idx="1487">
                  <c:v>1.1815891431567089</c:v>
                </c:pt>
                <c:pt idx="1488">
                  <c:v>1.1769527813223286</c:v>
                </c:pt>
                <c:pt idx="1489">
                  <c:v>1.1446247448188478</c:v>
                </c:pt>
                <c:pt idx="1490">
                  <c:v>1.1606632327186663</c:v>
                </c:pt>
                <c:pt idx="1491">
                  <c:v>1.1238705202275563</c:v>
                </c:pt>
                <c:pt idx="1492">
                  <c:v>1.122646738259516</c:v>
                </c:pt>
                <c:pt idx="1493">
                  <c:v>1.1322501148512392</c:v>
                </c:pt>
                <c:pt idx="1494">
                  <c:v>1.1396427472668127</c:v>
                </c:pt>
                <c:pt idx="1495">
                  <c:v>1.1538554353086856</c:v>
                </c:pt>
                <c:pt idx="1496">
                  <c:v>1.13709978189185</c:v>
                </c:pt>
                <c:pt idx="1497">
                  <c:v>1.1473497277855</c:v>
                </c:pt>
                <c:pt idx="1498">
                  <c:v>1.1784587163904205</c:v>
                </c:pt>
                <c:pt idx="1499">
                  <c:v>1.1874064083095652</c:v>
                </c:pt>
                <c:pt idx="1500">
                  <c:v>1.2344821734472877</c:v>
                </c:pt>
                <c:pt idx="1501">
                  <c:v>1.2520323263544588</c:v>
                </c:pt>
                <c:pt idx="1502">
                  <c:v>1.2568051319854425</c:v>
                </c:pt>
                <c:pt idx="1503">
                  <c:v>1.203922710340293</c:v>
                </c:pt>
                <c:pt idx="1504">
                  <c:v>1.2087146821296155</c:v>
                </c:pt>
                <c:pt idx="1505">
                  <c:v>1.2198414316129653</c:v>
                </c:pt>
                <c:pt idx="1506">
                  <c:v>1.2294239406349832</c:v>
                </c:pt>
                <c:pt idx="1507">
                  <c:v>1.2302024485897141</c:v>
                </c:pt>
                <c:pt idx="1508">
                  <c:v>1.2656538961920971</c:v>
                </c:pt>
                <c:pt idx="1509">
                  <c:v>1.2491508513635834</c:v>
                </c:pt>
                <c:pt idx="1510">
                  <c:v>1.2685028852519307</c:v>
                </c:pt>
                <c:pt idx="1511">
                  <c:v>1.2198107556378948</c:v>
                </c:pt>
                <c:pt idx="1512">
                  <c:v>1.2267000930462055</c:v>
                </c:pt>
                <c:pt idx="1513">
                  <c:v>1.2049096695719381</c:v>
                </c:pt>
                <c:pt idx="1514">
                  <c:v>1.2066869243235103</c:v>
                </c:pt>
                <c:pt idx="1515">
                  <c:v>1.2007873760914733</c:v>
                </c:pt>
                <c:pt idx="1516">
                  <c:v>1.1922854172256878</c:v>
                </c:pt>
                <c:pt idx="1517">
                  <c:v>1.2427892666459279</c:v>
                </c:pt>
                <c:pt idx="1518">
                  <c:v>1.249132344030538</c:v>
                </c:pt>
                <c:pt idx="1519">
                  <c:v>1.2303126624203413</c:v>
                </c:pt>
                <c:pt idx="1520">
                  <c:v>1.2497709037371443</c:v>
                </c:pt>
                <c:pt idx="1521">
                  <c:v>1.2340495450223603</c:v>
                </c:pt>
                <c:pt idx="1522">
                  <c:v>1.234519975493501</c:v>
                </c:pt>
                <c:pt idx="1523">
                  <c:v>1.2516740618025322</c:v>
                </c:pt>
                <c:pt idx="1524">
                  <c:v>1.2525637364934754</c:v>
                </c:pt>
                <c:pt idx="1525">
                  <c:v>1.2603536796667292</c:v>
                </c:pt>
                <c:pt idx="1526">
                  <c:v>1.2670713841268455</c:v>
                </c:pt>
                <c:pt idx="1527">
                  <c:v>1.2746083522450748</c:v>
                </c:pt>
                <c:pt idx="1528">
                  <c:v>1.2724935304142959</c:v>
                </c:pt>
                <c:pt idx="1529">
                  <c:v>1.249547100748607</c:v>
                </c:pt>
                <c:pt idx="1530">
                  <c:v>1.252412811121943</c:v>
                </c:pt>
                <c:pt idx="1531">
                  <c:v>1.2240423950771633</c:v>
                </c:pt>
                <c:pt idx="1532">
                  <c:v>1.2057842671575763</c:v>
                </c:pt>
                <c:pt idx="1533">
                  <c:v>1.2210253051017927</c:v>
                </c:pt>
                <c:pt idx="1534">
                  <c:v>1.2394534001658946</c:v>
                </c:pt>
                <c:pt idx="1535">
                  <c:v>1.2317449812866026</c:v>
                </c:pt>
                <c:pt idx="1536">
                  <c:v>1.22529504895321</c:v>
                </c:pt>
                <c:pt idx="1537">
                  <c:v>1.2306450795529795</c:v>
                </c:pt>
                <c:pt idx="1538">
                  <c:v>1.2430110856866028</c:v>
                </c:pt>
                <c:pt idx="1539">
                  <c:v>1.2127365305263629</c:v>
                </c:pt>
                <c:pt idx="1540">
                  <c:v>1.1994706717853172</c:v>
                </c:pt>
                <c:pt idx="1541">
                  <c:v>1.1859144649929738</c:v>
                </c:pt>
                <c:pt idx="1542">
                  <c:v>1.1889266868342505</c:v>
                </c:pt>
                <c:pt idx="1543">
                  <c:v>1.1450377276969805</c:v>
                </c:pt>
                <c:pt idx="1544">
                  <c:v>1.1377594469569507</c:v>
                </c:pt>
                <c:pt idx="1545">
                  <c:v>1.1352280809154283</c:v>
                </c:pt>
                <c:pt idx="1546">
                  <c:v>1.1044269666805424</c:v>
                </c:pt>
                <c:pt idx="1547">
                  <c:v>1.1400382940182132</c:v>
                </c:pt>
                <c:pt idx="1548">
                  <c:v>1.1027684614504956</c:v>
                </c:pt>
                <c:pt idx="1549">
                  <c:v>1.1017711059437316</c:v>
                </c:pt>
                <c:pt idx="1550">
                  <c:v>1.1569986199004791</c:v>
                </c:pt>
                <c:pt idx="1551">
                  <c:v>1.1714223502138952</c:v>
                </c:pt>
                <c:pt idx="1552">
                  <c:v>1.1726817900202773</c:v>
                </c:pt>
                <c:pt idx="1553">
                  <c:v>1.1878571109897993</c:v>
                </c:pt>
                <c:pt idx="1554">
                  <c:v>1.1688366608662422</c:v>
                </c:pt>
                <c:pt idx="1555">
                  <c:v>1.1494182726890148</c:v>
                </c:pt>
                <c:pt idx="1556">
                  <c:v>1.1363837190796284</c:v>
                </c:pt>
                <c:pt idx="1557">
                  <c:v>1.1576135072890541</c:v>
                </c:pt>
                <c:pt idx="1558">
                  <c:v>1.1409101252852896</c:v>
                </c:pt>
                <c:pt idx="1559">
                  <c:v>1.1300464354337656</c:v>
                </c:pt>
                <c:pt idx="1560">
                  <c:v>1.1203543986143956</c:v>
                </c:pt>
                <c:pt idx="1561">
                  <c:v>1.106160656437148</c:v>
                </c:pt>
                <c:pt idx="1562">
                  <c:v>1.087673357830067</c:v>
                </c:pt>
                <c:pt idx="1563">
                  <c:v>1.0817130977326896</c:v>
                </c:pt>
                <c:pt idx="1564">
                  <c:v>1.0605719698473115</c:v>
                </c:pt>
                <c:pt idx="1565">
                  <c:v>1.0362735139425907</c:v>
                </c:pt>
                <c:pt idx="1566">
                  <c:v>1.0639802528687381</c:v>
                </c:pt>
                <c:pt idx="1567">
                  <c:v>1.0648094382493736</c:v>
                </c:pt>
                <c:pt idx="1568">
                  <c:v>1.0377936687630791</c:v>
                </c:pt>
                <c:pt idx="1569">
                  <c:v>1.0203586761315793</c:v>
                </c:pt>
                <c:pt idx="1570">
                  <c:v>1.0157811761641689</c:v>
                </c:pt>
                <c:pt idx="1571">
                  <c:v>1.0135111968974784</c:v>
                </c:pt>
                <c:pt idx="1572">
                  <c:v>0.99874835647919469</c:v>
                </c:pt>
                <c:pt idx="1573">
                  <c:v>1.0461882681779215</c:v>
                </c:pt>
                <c:pt idx="1574">
                  <c:v>1.0825863098522768</c:v>
                </c:pt>
                <c:pt idx="1575">
                  <c:v>1.0944750791702529</c:v>
                </c:pt>
                <c:pt idx="1576">
                  <c:v>1.0597668641977882</c:v>
                </c:pt>
                <c:pt idx="1577">
                  <c:v>1.066931284381238</c:v>
                </c:pt>
                <c:pt idx="1578">
                  <c:v>1.0229582864975377</c:v>
                </c:pt>
                <c:pt idx="1579">
                  <c:v>1.0178627196872043</c:v>
                </c:pt>
                <c:pt idx="1580">
                  <c:v>1.0268476659331012</c:v>
                </c:pt>
                <c:pt idx="1581">
                  <c:v>0.94579374413854778</c:v>
                </c:pt>
                <c:pt idx="1582">
                  <c:v>0.92765967526797199</c:v>
                </c:pt>
                <c:pt idx="1583">
                  <c:v>0.96143978054421197</c:v>
                </c:pt>
                <c:pt idx="1584">
                  <c:v>0.96059938725552929</c:v>
                </c:pt>
                <c:pt idx="1585">
                  <c:v>1.0061104708578932</c:v>
                </c:pt>
                <c:pt idx="1586">
                  <c:v>1.0535458816450196</c:v>
                </c:pt>
                <c:pt idx="1587">
                  <c:v>1.0505548968987048</c:v>
                </c:pt>
                <c:pt idx="1588">
                  <c:v>1.0045653850811429</c:v>
                </c:pt>
                <c:pt idx="1589">
                  <c:v>1.0407093321280896</c:v>
                </c:pt>
                <c:pt idx="1590">
                  <c:v>1.092151373966042</c:v>
                </c:pt>
                <c:pt idx="1591">
                  <c:v>1.1190415445793882</c:v>
                </c:pt>
                <c:pt idx="1592">
                  <c:v>1.1243973774273892</c:v>
                </c:pt>
                <c:pt idx="1593">
                  <c:v>1.1642850960766595</c:v>
                </c:pt>
                <c:pt idx="1594">
                  <c:v>1.1593801643944914</c:v>
                </c:pt>
                <c:pt idx="1595">
                  <c:v>1.1763523903306181</c:v>
                </c:pt>
                <c:pt idx="1596">
                  <c:v>1.1937627328600904</c:v>
                </c:pt>
                <c:pt idx="1597">
                  <c:v>1.1697768374619004</c:v>
                </c:pt>
                <c:pt idx="1598">
                  <c:v>1.1510846684664404</c:v>
                </c:pt>
                <c:pt idx="1599">
                  <c:v>1.1870234754135218</c:v>
                </c:pt>
                <c:pt idx="1600">
                  <c:v>1.2017590154364544</c:v>
                </c:pt>
                <c:pt idx="1601">
                  <c:v>1.215371530433903</c:v>
                </c:pt>
                <c:pt idx="1602">
                  <c:v>1.2283965420482628</c:v>
                </c:pt>
                <c:pt idx="1603">
                  <c:v>1.2269005445579355</c:v>
                </c:pt>
                <c:pt idx="1604">
                  <c:v>1.1855678735507715</c:v>
                </c:pt>
                <c:pt idx="1605">
                  <c:v>1.1458304027332999</c:v>
                </c:pt>
                <c:pt idx="1606">
                  <c:v>1.1362363830997357</c:v>
                </c:pt>
                <c:pt idx="1607">
                  <c:v>1.1437187036672432</c:v>
                </c:pt>
                <c:pt idx="1608">
                  <c:v>1.1487553807191428</c:v>
                </c:pt>
                <c:pt idx="1609">
                  <c:v>1.1668038321824703</c:v>
                </c:pt>
                <c:pt idx="1610">
                  <c:v>1.1702776988702801</c:v>
                </c:pt>
                <c:pt idx="1611">
                  <c:v>1.1358115851624544</c:v>
                </c:pt>
                <c:pt idx="1612">
                  <c:v>1.139414110904825</c:v>
                </c:pt>
                <c:pt idx="1613">
                  <c:v>1.1681576340821973</c:v>
                </c:pt>
                <c:pt idx="1614">
                  <c:v>1.1248116688239775</c:v>
                </c:pt>
                <c:pt idx="1615">
                  <c:v>1.0815403193434778</c:v>
                </c:pt>
                <c:pt idx="1616">
                  <c:v>1.0686682497187752</c:v>
                </c:pt>
                <c:pt idx="1617">
                  <c:v>1.0618673954837297</c:v>
                </c:pt>
                <c:pt idx="1618">
                  <c:v>1.0561810898816817</c:v>
                </c:pt>
                <c:pt idx="1619">
                  <c:v>1.0610791828407842</c:v>
                </c:pt>
                <c:pt idx="1620">
                  <c:v>1.0707487080071243</c:v>
                </c:pt>
                <c:pt idx="1621">
                  <c:v>1.0415164708922209</c:v>
                </c:pt>
                <c:pt idx="1622">
                  <c:v>1.0514172718620773</c:v>
                </c:pt>
                <c:pt idx="1623">
                  <c:v>1.0514432477436941</c:v>
                </c:pt>
                <c:pt idx="1624">
                  <c:v>1.0889649816145586</c:v>
                </c:pt>
                <c:pt idx="1625">
                  <c:v>1.1121895483225195</c:v>
                </c:pt>
                <c:pt idx="1626">
                  <c:v>1.0699309594850108</c:v>
                </c:pt>
                <c:pt idx="1627">
                  <c:v>1.1046410403189757</c:v>
                </c:pt>
                <c:pt idx="1628">
                  <c:v>1.126763373084487</c:v>
                </c:pt>
                <c:pt idx="1629">
                  <c:v>1.1240013010362497</c:v>
                </c:pt>
                <c:pt idx="1630">
                  <c:v>1.0980032708492713</c:v>
                </c:pt>
                <c:pt idx="1631">
                  <c:v>1.1329865377062762</c:v>
                </c:pt>
                <c:pt idx="1632">
                  <c:v>1.1284087187535992</c:v>
                </c:pt>
                <c:pt idx="1633">
                  <c:v>1.1229606605581914</c:v>
                </c:pt>
                <c:pt idx="1634">
                  <c:v>1.1817623981119885</c:v>
                </c:pt>
                <c:pt idx="1635">
                  <c:v>1.1823471280393063</c:v>
                </c:pt>
                <c:pt idx="1636">
                  <c:v>1.1927503231327723</c:v>
                </c:pt>
                <c:pt idx="1637">
                  <c:v>1.1610055893468487</c:v>
                </c:pt>
                <c:pt idx="1638">
                  <c:v>1.2224583903466943</c:v>
                </c:pt>
                <c:pt idx="1639">
                  <c:v>1.2262189458762272</c:v>
                </c:pt>
                <c:pt idx="1640">
                  <c:v>1.22428693312624</c:v>
                </c:pt>
                <c:pt idx="1641">
                  <c:v>1.2043952660938375</c:v>
                </c:pt>
                <c:pt idx="1642">
                  <c:v>1.1873745321379821</c:v>
                </c:pt>
                <c:pt idx="1643">
                  <c:v>1.1815878691291297</c:v>
                </c:pt>
                <c:pt idx="1644">
                  <c:v>1.149284115654011</c:v>
                </c:pt>
                <c:pt idx="1645">
                  <c:v>1.1256171544955338</c:v>
                </c:pt>
                <c:pt idx="1646">
                  <c:v>1.1262459289485209</c:v>
                </c:pt>
                <c:pt idx="1647">
                  <c:v>1.1779879875978063</c:v>
                </c:pt>
                <c:pt idx="1648">
                  <c:v>1.1824527997581604</c:v>
                </c:pt>
                <c:pt idx="1649">
                  <c:v>1.2048342588911749</c:v>
                </c:pt>
                <c:pt idx="1650">
                  <c:v>1.230432129703402</c:v>
                </c:pt>
                <c:pt idx="1651">
                  <c:v>1.221687885804954</c:v>
                </c:pt>
                <c:pt idx="1652">
                  <c:v>1.2609360748849383</c:v>
                </c:pt>
                <c:pt idx="1653">
                  <c:v>1.2441780980972719</c:v>
                </c:pt>
                <c:pt idx="1654">
                  <c:v>1.2474613360526392</c:v>
                </c:pt>
                <c:pt idx="1655">
                  <c:v>1.2185625234906552</c:v>
                </c:pt>
                <c:pt idx="1656">
                  <c:v>1.2010533011727933</c:v>
                </c:pt>
                <c:pt idx="1657">
                  <c:v>1.2052794259521962</c:v>
                </c:pt>
                <c:pt idx="1658">
                  <c:v>1.1881410437254265</c:v>
                </c:pt>
                <c:pt idx="1659">
                  <c:v>1.1784882789641624</c:v>
                </c:pt>
                <c:pt idx="1660">
                  <c:v>1.1733468352106826</c:v>
                </c:pt>
                <c:pt idx="1661">
                  <c:v>1.1648387215884559</c:v>
                </c:pt>
                <c:pt idx="1662">
                  <c:v>1.147736154161701</c:v>
                </c:pt>
                <c:pt idx="1663">
                  <c:v>1.1622431962854536</c:v>
                </c:pt>
                <c:pt idx="1664">
                  <c:v>1.1971796606127862</c:v>
                </c:pt>
                <c:pt idx="1665">
                  <c:v>1.1953118097720967</c:v>
                </c:pt>
                <c:pt idx="1666">
                  <c:v>1.1955455856268415</c:v>
                </c:pt>
                <c:pt idx="1667">
                  <c:v>1.2186217316013952</c:v>
                </c:pt>
                <c:pt idx="1668">
                  <c:v>1.1841395406002213</c:v>
                </c:pt>
                <c:pt idx="1669">
                  <c:v>1.1515524817738749</c:v>
                </c:pt>
                <c:pt idx="1670">
                  <c:v>1.1710279465550357</c:v>
                </c:pt>
                <c:pt idx="1671">
                  <c:v>1.1285783234929088</c:v>
                </c:pt>
                <c:pt idx="1672">
                  <c:v>1.1102263645965005</c:v>
                </c:pt>
                <c:pt idx="1673">
                  <c:v>1.1451341659668166</c:v>
                </c:pt>
                <c:pt idx="1674">
                  <c:v>1.1322358696473671</c:v>
                </c:pt>
                <c:pt idx="1675">
                  <c:v>1.1478920371847949</c:v>
                </c:pt>
                <c:pt idx="1676">
                  <c:v>1.2088278335572835</c:v>
                </c:pt>
                <c:pt idx="1677">
                  <c:v>1.2059930098408311</c:v>
                </c:pt>
                <c:pt idx="1678">
                  <c:v>1.1925392624451066</c:v>
                </c:pt>
                <c:pt idx="1679">
                  <c:v>1.2053248346355632</c:v>
                </c:pt>
                <c:pt idx="1680">
                  <c:v>1.1986455617886798</c:v>
                </c:pt>
                <c:pt idx="1681">
                  <c:v>1.186066327543841</c:v>
                </c:pt>
                <c:pt idx="1682">
                  <c:v>1.221502952254145</c:v>
                </c:pt>
                <c:pt idx="1683">
                  <c:v>1.1992243909231277</c:v>
                </c:pt>
                <c:pt idx="1684">
                  <c:v>1.2039002030586803</c:v>
                </c:pt>
                <c:pt idx="1685">
                  <c:v>1.1717751444911741</c:v>
                </c:pt>
                <c:pt idx="1686">
                  <c:v>1.1740180064930403</c:v>
                </c:pt>
                <c:pt idx="1687">
                  <c:v>1.1904275910202877</c:v>
                </c:pt>
                <c:pt idx="1688">
                  <c:v>1.2028923029403416</c:v>
                </c:pt>
                <c:pt idx="1689">
                  <c:v>1.2076162425403658</c:v>
                </c:pt>
                <c:pt idx="1690">
                  <c:v>1.2178477401874053</c:v>
                </c:pt>
                <c:pt idx="1691">
                  <c:v>1.2218106605864023</c:v>
                </c:pt>
                <c:pt idx="1692">
                  <c:v>1.1675227887992556</c:v>
                </c:pt>
                <c:pt idx="1693">
                  <c:v>1.1896097670452535</c:v>
                </c:pt>
                <c:pt idx="1694">
                  <c:v>1.1810852490787431</c:v>
                </c:pt>
                <c:pt idx="1695">
                  <c:v>1.1854778991876502</c:v>
                </c:pt>
                <c:pt idx="1696">
                  <c:v>1.1563977252332911</c:v>
                </c:pt>
                <c:pt idx="1697">
                  <c:v>1.1497680925589584</c:v>
                </c:pt>
                <c:pt idx="1698">
                  <c:v>1.1033091963704906</c:v>
                </c:pt>
                <c:pt idx="1699">
                  <c:v>1.2015405881393419</c:v>
                </c:pt>
                <c:pt idx="1700">
                  <c:v>1.2007519149642534</c:v>
                </c:pt>
                <c:pt idx="1701">
                  <c:v>1.1406368717160948</c:v>
                </c:pt>
                <c:pt idx="1702">
                  <c:v>1.2018897306871301</c:v>
                </c:pt>
                <c:pt idx="1703">
                  <c:v>1.2105358273290845</c:v>
                </c:pt>
                <c:pt idx="1704">
                  <c:v>1.2301752650722979</c:v>
                </c:pt>
                <c:pt idx="1705">
                  <c:v>1.2444665480627879</c:v>
                </c:pt>
                <c:pt idx="1706">
                  <c:v>1.2448950381112369</c:v>
                </c:pt>
                <c:pt idx="1707">
                  <c:v>1.2908468504814381</c:v>
                </c:pt>
                <c:pt idx="1708">
                  <c:v>1.3249960843926722</c:v>
                </c:pt>
                <c:pt idx="1709">
                  <c:v>1.3907919922085388</c:v>
                </c:pt>
                <c:pt idx="1710">
                  <c:v>1.3423734397003324</c:v>
                </c:pt>
                <c:pt idx="1711">
                  <c:v>1.3886117458257221</c:v>
                </c:pt>
                <c:pt idx="1712">
                  <c:v>1.4071749323813938</c:v>
                </c:pt>
                <c:pt idx="1713">
                  <c:v>1.4292571948506179</c:v>
                </c:pt>
                <c:pt idx="1714">
                  <c:v>1.3909270521907782</c:v>
                </c:pt>
                <c:pt idx="1715">
                  <c:v>1.3401236502089879</c:v>
                </c:pt>
                <c:pt idx="1716">
                  <c:v>1.3391589400316402</c:v>
                </c:pt>
                <c:pt idx="1717">
                  <c:v>1.3566302338507161</c:v>
                </c:pt>
                <c:pt idx="1718">
                  <c:v>1.2671561589570541</c:v>
                </c:pt>
                <c:pt idx="1719">
                  <c:v>1.2674638973883221</c:v>
                </c:pt>
                <c:pt idx="1720">
                  <c:v>1.1538804097479076</c:v>
                </c:pt>
                <c:pt idx="1721">
                  <c:v>1.0757754892289588</c:v>
                </c:pt>
                <c:pt idx="1722">
                  <c:v>1.0357733591924938</c:v>
                </c:pt>
                <c:pt idx="1723">
                  <c:v>1.0122149671808582</c:v>
                </c:pt>
                <c:pt idx="1724">
                  <c:v>1.0264500888724379</c:v>
                </c:pt>
                <c:pt idx="1725">
                  <c:v>0.93828280579786483</c:v>
                </c:pt>
                <c:pt idx="1726">
                  <c:v>0.95823246781018201</c:v>
                </c:pt>
                <c:pt idx="1727">
                  <c:v>0.95457449846425257</c:v>
                </c:pt>
                <c:pt idx="1728">
                  <c:v>0.93212994617657219</c:v>
                </c:pt>
                <c:pt idx="1729">
                  <c:v>0.91910346686088562</c:v>
                </c:pt>
                <c:pt idx="1730">
                  <c:v>0.91067657703324589</c:v>
                </c:pt>
                <c:pt idx="1731">
                  <c:v>0.89725087895468025</c:v>
                </c:pt>
                <c:pt idx="1732">
                  <c:v>0.87134662806288443</c:v>
                </c:pt>
                <c:pt idx="1733">
                  <c:v>0.92154486935610391</c:v>
                </c:pt>
                <c:pt idx="1734">
                  <c:v>0.91846154677440117</c:v>
                </c:pt>
                <c:pt idx="1735">
                  <c:v>0.92392814969912651</c:v>
                </c:pt>
                <c:pt idx="1736">
                  <c:v>0.92688645185030905</c:v>
                </c:pt>
                <c:pt idx="1737">
                  <c:v>0.88520029930658783</c:v>
                </c:pt>
                <c:pt idx="1738">
                  <c:v>0.88390713763210971</c:v>
                </c:pt>
                <c:pt idx="1739">
                  <c:v>0.90731969683131208</c:v>
                </c:pt>
                <c:pt idx="1740">
                  <c:v>0.89830724920736016</c:v>
                </c:pt>
                <c:pt idx="1741">
                  <c:v>0.87829257623093071</c:v>
                </c:pt>
                <c:pt idx="1742">
                  <c:v>0.88917879233098118</c:v>
                </c:pt>
                <c:pt idx="1743">
                  <c:v>0.97910064064738922</c:v>
                </c:pt>
                <c:pt idx="1744">
                  <c:v>1.0412855991152141</c:v>
                </c:pt>
                <c:pt idx="1745">
                  <c:v>1.037180213703927</c:v>
                </c:pt>
                <c:pt idx="1746">
                  <c:v>1.1911938531149848</c:v>
                </c:pt>
                <c:pt idx="1747">
                  <c:v>1.182556370703939</c:v>
                </c:pt>
                <c:pt idx="1748">
                  <c:v>1.1700471454521157</c:v>
                </c:pt>
                <c:pt idx="1749">
                  <c:v>1.1694638970278701</c:v>
                </c:pt>
                <c:pt idx="1750">
                  <c:v>1.1754754700312384</c:v>
                </c:pt>
                <c:pt idx="1751">
                  <c:v>1.1644515068597563</c:v>
                </c:pt>
                <c:pt idx="1752">
                  <c:v>1.1682460891144395</c:v>
                </c:pt>
                <c:pt idx="1753">
                  <c:v>1.1337159379478567</c:v>
                </c:pt>
                <c:pt idx="1754">
                  <c:v>1.1338529801721036</c:v>
                </c:pt>
                <c:pt idx="1755">
                  <c:v>1.109524067298217</c:v>
                </c:pt>
                <c:pt idx="1756">
                  <c:v>1.1124090877436337</c:v>
                </c:pt>
                <c:pt idx="1757">
                  <c:v>1.1320360380296417</c:v>
                </c:pt>
                <c:pt idx="1758">
                  <c:v>1.1308932619361001</c:v>
                </c:pt>
                <c:pt idx="1759">
                  <c:v>1.0946963049174869</c:v>
                </c:pt>
                <c:pt idx="1760">
                  <c:v>1.1086713931839838</c:v>
                </c:pt>
                <c:pt idx="1761">
                  <c:v>1.163152002381959</c:v>
                </c:pt>
                <c:pt idx="1762">
                  <c:v>1.1708549399146677</c:v>
                </c:pt>
                <c:pt idx="1763">
                  <c:v>1.1886119129345338</c:v>
                </c:pt>
                <c:pt idx="1764">
                  <c:v>1.1968117143351715</c:v>
                </c:pt>
                <c:pt idx="1765">
                  <c:v>1.1735498028566769</c:v>
                </c:pt>
                <c:pt idx="1766">
                  <c:v>1.1845866753420149</c:v>
                </c:pt>
                <c:pt idx="1767">
                  <c:v>1.1781990995920719</c:v>
                </c:pt>
                <c:pt idx="1768">
                  <c:v>1.1698015639093371</c:v>
                </c:pt>
                <c:pt idx="1769">
                  <c:v>1.1748952824533692</c:v>
                </c:pt>
                <c:pt idx="1770">
                  <c:v>1.175836650201459</c:v>
                </c:pt>
                <c:pt idx="1771">
                  <c:v>1.2201822532649766</c:v>
                </c:pt>
                <c:pt idx="1772">
                  <c:v>1.1775808079022791</c:v>
                </c:pt>
                <c:pt idx="1773">
                  <c:v>1.2178668995199091</c:v>
                </c:pt>
                <c:pt idx="1774">
                  <c:v>1.2162876711225559</c:v>
                </c:pt>
                <c:pt idx="1775">
                  <c:v>1.2372411209614109</c:v>
                </c:pt>
                <c:pt idx="1776">
                  <c:v>1.2268207009412844</c:v>
                </c:pt>
                <c:pt idx="1777">
                  <c:v>1.1730625298443094</c:v>
                </c:pt>
                <c:pt idx="1778">
                  <c:v>1.1613633071450105</c:v>
                </c:pt>
                <c:pt idx="1779">
                  <c:v>1.2048223890878322</c:v>
                </c:pt>
                <c:pt idx="1780">
                  <c:v>1.2165746908819959</c:v>
                </c:pt>
                <c:pt idx="1781">
                  <c:v>1.1655280772785921</c:v>
                </c:pt>
                <c:pt idx="1782">
                  <c:v>1.1677326619960895</c:v>
                </c:pt>
                <c:pt idx="1783">
                  <c:v>1.1407511202184155</c:v>
                </c:pt>
                <c:pt idx="1784">
                  <c:v>1.1367141856178915</c:v>
                </c:pt>
                <c:pt idx="1785">
                  <c:v>1.093415876768713</c:v>
                </c:pt>
                <c:pt idx="1786">
                  <c:v>1.1514437874681183</c:v>
                </c:pt>
                <c:pt idx="1787">
                  <c:v>1.1510104023146619</c:v>
                </c:pt>
                <c:pt idx="1788">
                  <c:v>1.1619092556131783</c:v>
                </c:pt>
                <c:pt idx="1789">
                  <c:v>1.1644085673971818</c:v>
                </c:pt>
                <c:pt idx="1790">
                  <c:v>1.1659899112420655</c:v>
                </c:pt>
                <c:pt idx="1791">
                  <c:v>1.1066345376862228</c:v>
                </c:pt>
                <c:pt idx="1792">
                  <c:v>1.1004358862673214</c:v>
                </c:pt>
                <c:pt idx="1793">
                  <c:v>1.0988341818217087</c:v>
                </c:pt>
                <c:pt idx="1794">
                  <c:v>1.1128065845526147</c:v>
                </c:pt>
                <c:pt idx="1795">
                  <c:v>1.0536879422152901</c:v>
                </c:pt>
                <c:pt idx="1796">
                  <c:v>1.0827753070657817</c:v>
                </c:pt>
                <c:pt idx="1797">
                  <c:v>1.1013521503768835</c:v>
                </c:pt>
                <c:pt idx="1798">
                  <c:v>1.1162779936645641</c:v>
                </c:pt>
                <c:pt idx="1799">
                  <c:v>1.1197138651391909</c:v>
                </c:pt>
                <c:pt idx="1800">
                  <c:v>1.1301215083591294</c:v>
                </c:pt>
                <c:pt idx="1801">
                  <c:v>1.1557720503014703</c:v>
                </c:pt>
                <c:pt idx="1802">
                  <c:v>1.1434732978061617</c:v>
                </c:pt>
                <c:pt idx="1803">
                  <c:v>1.1510522535152699</c:v>
                </c:pt>
                <c:pt idx="1804">
                  <c:v>1.1658587678902907</c:v>
                </c:pt>
                <c:pt idx="1805">
                  <c:v>1.1648653990266264</c:v>
                </c:pt>
                <c:pt idx="1806">
                  <c:v>1.0871525399691111</c:v>
                </c:pt>
                <c:pt idx="1807">
                  <c:v>1.0762953186292437</c:v>
                </c:pt>
                <c:pt idx="1808">
                  <c:v>1.1044356316762551</c:v>
                </c:pt>
                <c:pt idx="1809">
                  <c:v>1.1002664388952068</c:v>
                </c:pt>
                <c:pt idx="1810">
                  <c:v>1.0900359074681401</c:v>
                </c:pt>
                <c:pt idx="1811">
                  <c:v>1.0717601842171214</c:v>
                </c:pt>
                <c:pt idx="1812">
                  <c:v>1.0669033675544024</c:v>
                </c:pt>
                <c:pt idx="1813">
                  <c:v>1.0696821957946199</c:v>
                </c:pt>
                <c:pt idx="1814">
                  <c:v>1.0402980342190404</c:v>
                </c:pt>
                <c:pt idx="1815">
                  <c:v>1.0137280286788128</c:v>
                </c:pt>
                <c:pt idx="1816">
                  <c:v>0.99834669781206653</c:v>
                </c:pt>
                <c:pt idx="1817">
                  <c:v>0.88481539293227296</c:v>
                </c:pt>
                <c:pt idx="1818">
                  <c:v>0.89675867937380915</c:v>
                </c:pt>
                <c:pt idx="1819">
                  <c:v>0.95900116048232797</c:v>
                </c:pt>
                <c:pt idx="1820">
                  <c:v>1.0211057679042419</c:v>
                </c:pt>
                <c:pt idx="1821">
                  <c:v>1.0215698440324865</c:v>
                </c:pt>
                <c:pt idx="1822">
                  <c:v>1.0020571314169944</c:v>
                </c:pt>
                <c:pt idx="1823">
                  <c:v>1.0136359550954999</c:v>
                </c:pt>
                <c:pt idx="1824">
                  <c:v>1.0584570836124925</c:v>
                </c:pt>
                <c:pt idx="1825">
                  <c:v>1.0387932411454468</c:v>
                </c:pt>
                <c:pt idx="1826">
                  <c:v>1.0070994227541925</c:v>
                </c:pt>
                <c:pt idx="1827">
                  <c:v>0.97607299656514201</c:v>
                </c:pt>
                <c:pt idx="1828">
                  <c:v>0.99099081514357346</c:v>
                </c:pt>
                <c:pt idx="1829">
                  <c:v>0.98186787101372863</c:v>
                </c:pt>
                <c:pt idx="1830">
                  <c:v>1.0365783249016514</c:v>
                </c:pt>
                <c:pt idx="1831">
                  <c:v>1.0433725300961012</c:v>
                </c:pt>
                <c:pt idx="1832">
                  <c:v>1.0250064778185024</c:v>
                </c:pt>
                <c:pt idx="1833">
                  <c:v>1.0318743776171571</c:v>
                </c:pt>
                <c:pt idx="1834">
                  <c:v>1.0259656872419511</c:v>
                </c:pt>
                <c:pt idx="1835">
                  <c:v>0.98124728614103163</c:v>
                </c:pt>
                <c:pt idx="1836">
                  <c:v>0.98526771647013756</c:v>
                </c:pt>
                <c:pt idx="1837">
                  <c:v>0.98551127498282809</c:v>
                </c:pt>
                <c:pt idx="1838">
                  <c:v>1.0282695558898414</c:v>
                </c:pt>
                <c:pt idx="1839">
                  <c:v>1.0301450988725724</c:v>
                </c:pt>
                <c:pt idx="1840">
                  <c:v>1.0229610194488481</c:v>
                </c:pt>
                <c:pt idx="1841">
                  <c:v>1.0023496052689378</c:v>
                </c:pt>
                <c:pt idx="1842">
                  <c:v>0.99082413834054262</c:v>
                </c:pt>
                <c:pt idx="1843">
                  <c:v>0.98404268200114131</c:v>
                </c:pt>
                <c:pt idx="1844">
                  <c:v>0.99067794751822547</c:v>
                </c:pt>
                <c:pt idx="1845">
                  <c:v>1.0152137335217555</c:v>
                </c:pt>
                <c:pt idx="1846">
                  <c:v>1.0180618313605112</c:v>
                </c:pt>
                <c:pt idx="1847">
                  <c:v>1.0306031223021421</c:v>
                </c:pt>
                <c:pt idx="1848">
                  <c:v>1.0318906335314282</c:v>
                </c:pt>
                <c:pt idx="1849">
                  <c:v>1.0625797376784158</c:v>
                </c:pt>
                <c:pt idx="1850">
                  <c:v>1.0290591798817619</c:v>
                </c:pt>
                <c:pt idx="1851">
                  <c:v>1.0122265461077187</c:v>
                </c:pt>
                <c:pt idx="1852">
                  <c:v>1.0179828251292182</c:v>
                </c:pt>
                <c:pt idx="1853">
                  <c:v>1.018384974844605</c:v>
                </c:pt>
                <c:pt idx="1854">
                  <c:v>0.99126583568145177</c:v>
                </c:pt>
                <c:pt idx="1855">
                  <c:v>1.0055225999074964</c:v>
                </c:pt>
                <c:pt idx="1856">
                  <c:v>1.0311957773297924</c:v>
                </c:pt>
                <c:pt idx="1857">
                  <c:v>1.0703640220901234</c:v>
                </c:pt>
                <c:pt idx="1858">
                  <c:v>1.079019267967519</c:v>
                </c:pt>
                <c:pt idx="1859">
                  <c:v>1.103370106264371</c:v>
                </c:pt>
                <c:pt idx="1860">
                  <c:v>1.1210612291796966</c:v>
                </c:pt>
                <c:pt idx="1861">
                  <c:v>1.1058599534114342</c:v>
                </c:pt>
                <c:pt idx="1862">
                  <c:v>1.124383415261951</c:v>
                </c:pt>
                <c:pt idx="1863">
                  <c:v>1.1291701206152787</c:v>
                </c:pt>
                <c:pt idx="1864">
                  <c:v>1.1260467531690594</c:v>
                </c:pt>
                <c:pt idx="1865">
                  <c:v>1.1265466310046632</c:v>
                </c:pt>
                <c:pt idx="1866">
                  <c:v>1.1500309486251659</c:v>
                </c:pt>
                <c:pt idx="1867">
                  <c:v>1.1376788291427284</c:v>
                </c:pt>
                <c:pt idx="1868">
                  <c:v>1.1769548826097476</c:v>
                </c:pt>
                <c:pt idx="1869">
                  <c:v>1.1373334215734443</c:v>
                </c:pt>
                <c:pt idx="1870">
                  <c:v>1.1903776395460324</c:v>
                </c:pt>
                <c:pt idx="1871">
                  <c:v>1.2102153900535975</c:v>
                </c:pt>
                <c:pt idx="1872">
                  <c:v>1.1943350154091015</c:v>
                </c:pt>
                <c:pt idx="1873">
                  <c:v>1.2005635773359975</c:v>
                </c:pt>
                <c:pt idx="1874">
                  <c:v>1.2394635502801683</c:v>
                </c:pt>
                <c:pt idx="1875">
                  <c:v>1.236917344097427</c:v>
                </c:pt>
                <c:pt idx="1876">
                  <c:v>1.2182867399118986</c:v>
                </c:pt>
                <c:pt idx="1877">
                  <c:v>1.250075782649033</c:v>
                </c:pt>
                <c:pt idx="1878">
                  <c:v>1.2316746183921294</c:v>
                </c:pt>
                <c:pt idx="1879">
                  <c:v>1.2188674454026436</c:v>
                </c:pt>
                <c:pt idx="1880">
                  <c:v>1.230042922583537</c:v>
                </c:pt>
                <c:pt idx="1881">
                  <c:v>1.2323353125593068</c:v>
                </c:pt>
                <c:pt idx="1882">
                  <c:v>1.2411368357926091</c:v>
                </c:pt>
                <c:pt idx="1883">
                  <c:v>1.2447611508159486</c:v>
                </c:pt>
                <c:pt idx="1884">
                  <c:v>1.2448158303993819</c:v>
                </c:pt>
                <c:pt idx="1885">
                  <c:v>1.2789219250300541</c:v>
                </c:pt>
                <c:pt idx="1886">
                  <c:v>1.2835335969984014</c:v>
                </c:pt>
                <c:pt idx="1887">
                  <c:v>1.2625235864931839</c:v>
                </c:pt>
                <c:pt idx="1888">
                  <c:v>1.2401256439987138</c:v>
                </c:pt>
                <c:pt idx="1889">
                  <c:v>1.2282130563660185</c:v>
                </c:pt>
                <c:pt idx="1890">
                  <c:v>1.1611739517559625</c:v>
                </c:pt>
                <c:pt idx="1891">
                  <c:v>1.1279730607627341</c:v>
                </c:pt>
                <c:pt idx="1892">
                  <c:v>1.1242741983690094</c:v>
                </c:pt>
                <c:pt idx="1893">
                  <c:v>1.1184806322557321</c:v>
                </c:pt>
                <c:pt idx="1894">
                  <c:v>1.1227792896795579</c:v>
                </c:pt>
                <c:pt idx="1895">
                  <c:v>1.2131956379389011</c:v>
                </c:pt>
                <c:pt idx="1896">
                  <c:v>1.2109746363539047</c:v>
                </c:pt>
                <c:pt idx="1897">
                  <c:v>1.1991575896149684</c:v>
                </c:pt>
                <c:pt idx="1898">
                  <c:v>1.2126113295525236</c:v>
                </c:pt>
                <c:pt idx="1899">
                  <c:v>1.1979688006420814</c:v>
                </c:pt>
                <c:pt idx="1900">
                  <c:v>1.2119859291564063</c:v>
                </c:pt>
                <c:pt idx="1901">
                  <c:v>1.2072331290836034</c:v>
                </c:pt>
                <c:pt idx="1902">
                  <c:v>1.2094955848999502</c:v>
                </c:pt>
                <c:pt idx="1903">
                  <c:v>1.2061207700010625</c:v>
                </c:pt>
                <c:pt idx="1904">
                  <c:v>1.1666581259287991</c:v>
                </c:pt>
                <c:pt idx="1905">
                  <c:v>1.1351613025450162</c:v>
                </c:pt>
                <c:pt idx="1906">
                  <c:v>1.1080205153180107</c:v>
                </c:pt>
                <c:pt idx="1907">
                  <c:v>1.1099157189741053</c:v>
                </c:pt>
                <c:pt idx="1908">
                  <c:v>1.1553191617866452</c:v>
                </c:pt>
                <c:pt idx="1909">
                  <c:v>1.1569868169619111</c:v>
                </c:pt>
                <c:pt idx="1910">
                  <c:v>1.1804602710861989</c:v>
                </c:pt>
                <c:pt idx="1911">
                  <c:v>1.2119842434832278</c:v>
                </c:pt>
                <c:pt idx="1912">
                  <c:v>1.207528356264479</c:v>
                </c:pt>
                <c:pt idx="1913">
                  <c:v>1.2049450083378406</c:v>
                </c:pt>
                <c:pt idx="1914">
                  <c:v>1.1681241280337558</c:v>
                </c:pt>
                <c:pt idx="1915">
                  <c:v>1.1525857792349439</c:v>
                </c:pt>
                <c:pt idx="1916">
                  <c:v>1.0584131965464409</c:v>
                </c:pt>
                <c:pt idx="1917">
                  <c:v>0.88290783016073637</c:v>
                </c:pt>
                <c:pt idx="1918">
                  <c:v>0.9087551452280721</c:v>
                </c:pt>
                <c:pt idx="1919">
                  <c:v>0.91469390849428922</c:v>
                </c:pt>
                <c:pt idx="1920">
                  <c:v>0.91655666984221884</c:v>
                </c:pt>
                <c:pt idx="1921">
                  <c:v>0.8959124621216884</c:v>
                </c:pt>
                <c:pt idx="1922">
                  <c:v>0.90307539070130904</c:v>
                </c:pt>
                <c:pt idx="1923">
                  <c:v>0.92072587073040235</c:v>
                </c:pt>
                <c:pt idx="1924">
                  <c:v>0.95811878851383858</c:v>
                </c:pt>
                <c:pt idx="1925">
                  <c:v>0.96214377572236576</c:v>
                </c:pt>
                <c:pt idx="1926">
                  <c:v>0.941128697791355</c:v>
                </c:pt>
                <c:pt idx="1927">
                  <c:v>0.92367813134369525</c:v>
                </c:pt>
                <c:pt idx="1928">
                  <c:v>0.90175742393001868</c:v>
                </c:pt>
                <c:pt idx="1929">
                  <c:v>0.91603469906574686</c:v>
                </c:pt>
                <c:pt idx="1930">
                  <c:v>0.94279166788440472</c:v>
                </c:pt>
                <c:pt idx="1931">
                  <c:v>1.0653073664188359</c:v>
                </c:pt>
                <c:pt idx="1932">
                  <c:v>1.1836968697981303</c:v>
                </c:pt>
                <c:pt idx="1933">
                  <c:v>1.1890459716010329</c:v>
                </c:pt>
                <c:pt idx="1934">
                  <c:v>1.2683126543748233</c:v>
                </c:pt>
                <c:pt idx="1935">
                  <c:v>1.2563010220741344</c:v>
                </c:pt>
                <c:pt idx="1936">
                  <c:v>1.2443272570271231</c:v>
                </c:pt>
                <c:pt idx="1937">
                  <c:v>1.3277492476051824</c:v>
                </c:pt>
                <c:pt idx="1938">
                  <c:v>1.3495870336107711</c:v>
                </c:pt>
                <c:pt idx="1939">
                  <c:v>1.3274950944566424</c:v>
                </c:pt>
                <c:pt idx="1940">
                  <c:v>1.3863565616857123</c:v>
                </c:pt>
                <c:pt idx="1941">
                  <c:v>1.3556172264013642</c:v>
                </c:pt>
                <c:pt idx="1942">
                  <c:v>1.3147317482636798</c:v>
                </c:pt>
                <c:pt idx="1943">
                  <c:v>1.2815339430978123</c:v>
                </c:pt>
                <c:pt idx="1944">
                  <c:v>1.2929286585612645</c:v>
                </c:pt>
                <c:pt idx="1945">
                  <c:v>1.2833750865990909</c:v>
                </c:pt>
                <c:pt idx="1946">
                  <c:v>1.3160127136033259</c:v>
                </c:pt>
                <c:pt idx="1947">
                  <c:v>1.3548928458206253</c:v>
                </c:pt>
                <c:pt idx="1948">
                  <c:v>1.3865495194519641</c:v>
                </c:pt>
                <c:pt idx="1949">
                  <c:v>1.3260808129901605</c:v>
                </c:pt>
                <c:pt idx="1950">
                  <c:v>1.3243538493467557</c:v>
                </c:pt>
                <c:pt idx="1951">
                  <c:v>1.3357613108523141</c:v>
                </c:pt>
                <c:pt idx="1952">
                  <c:v>1.2936329605259522</c:v>
                </c:pt>
                <c:pt idx="1953">
                  <c:v>1.2968519368981792</c:v>
                </c:pt>
                <c:pt idx="1954">
                  <c:v>1.2805232465465972</c:v>
                </c:pt>
                <c:pt idx="1955">
                  <c:v>1.2809913835507183</c:v>
                </c:pt>
                <c:pt idx="1956">
                  <c:v>1.2829782220597399</c:v>
                </c:pt>
                <c:pt idx="1957">
                  <c:v>1.2354793593224569</c:v>
                </c:pt>
                <c:pt idx="1958">
                  <c:v>1.1729526202973277</c:v>
                </c:pt>
                <c:pt idx="1959">
                  <c:v>1.1421753438632061</c:v>
                </c:pt>
                <c:pt idx="1960">
                  <c:v>1.153314065349649</c:v>
                </c:pt>
                <c:pt idx="1961">
                  <c:v>1.2047370658568881</c:v>
                </c:pt>
                <c:pt idx="1962">
                  <c:v>1.1857344713548399</c:v>
                </c:pt>
                <c:pt idx="1963">
                  <c:v>1.158476288850125</c:v>
                </c:pt>
                <c:pt idx="1964">
                  <c:v>1.154524433118099</c:v>
                </c:pt>
                <c:pt idx="1965">
                  <c:v>1.154524433118099</c:v>
                </c:pt>
                <c:pt idx="1966">
                  <c:v>1.1683150260096811</c:v>
                </c:pt>
                <c:pt idx="1967">
                  <c:v>1.1693630285215624</c:v>
                </c:pt>
                <c:pt idx="1968">
                  <c:v>1.1393790046025221</c:v>
                </c:pt>
                <c:pt idx="1969">
                  <c:v>1.1579550012613782</c:v>
                </c:pt>
                <c:pt idx="1970">
                  <c:v>1.1644400564912272</c:v>
                </c:pt>
                <c:pt idx="1971">
                  <c:v>1.1446145991752696</c:v>
                </c:pt>
                <c:pt idx="1972">
                  <c:v>1.1751562696358804</c:v>
                </c:pt>
                <c:pt idx="1973">
                  <c:v>1.1690247750715912</c:v>
                </c:pt>
                <c:pt idx="1974">
                  <c:v>1.1425606028490554</c:v>
                </c:pt>
                <c:pt idx="1975">
                  <c:v>1.1232435751128336</c:v>
                </c:pt>
                <c:pt idx="1976">
                  <c:v>1.1068037873335614</c:v>
                </c:pt>
                <c:pt idx="1977">
                  <c:v>1.140756964306116</c:v>
                </c:pt>
                <c:pt idx="1978">
                  <c:v>1.0944243834924352</c:v>
                </c:pt>
                <c:pt idx="1979">
                  <c:v>1.1112521272522191</c:v>
                </c:pt>
                <c:pt idx="1980">
                  <c:v>1.1529587930601097</c:v>
                </c:pt>
                <c:pt idx="1981">
                  <c:v>1.1787230196230361</c:v>
                </c:pt>
                <c:pt idx="1982">
                  <c:v>1.1715085394757123</c:v>
                </c:pt>
                <c:pt idx="1983">
                  <c:v>1.1230368773806985</c:v>
                </c:pt>
                <c:pt idx="1984">
                  <c:v>1.1455885466778946</c:v>
                </c:pt>
                <c:pt idx="1985">
                  <c:v>1.1151852153414381</c:v>
                </c:pt>
                <c:pt idx="1986">
                  <c:v>1.1129322888522435</c:v>
                </c:pt>
                <c:pt idx="1987">
                  <c:v>1.0985557478720851</c:v>
                </c:pt>
                <c:pt idx="1988">
                  <c:v>1.0909068931225829</c:v>
                </c:pt>
                <c:pt idx="1989">
                  <c:v>1.0912071839387654</c:v>
                </c:pt>
                <c:pt idx="1990">
                  <c:v>1.0675976448001356</c:v>
                </c:pt>
                <c:pt idx="1991">
                  <c:v>1.0837579978249123</c:v>
                </c:pt>
                <c:pt idx="1992">
                  <c:v>1.0486008086559817</c:v>
                </c:pt>
                <c:pt idx="1993">
                  <c:v>1.0384826606925794</c:v>
                </c:pt>
                <c:pt idx="1994">
                  <c:v>1.0390596451775804</c:v>
                </c:pt>
                <c:pt idx="1995">
                  <c:v>1.0771067378543235</c:v>
                </c:pt>
                <c:pt idx="1996">
                  <c:v>1.0650939682912128</c:v>
                </c:pt>
                <c:pt idx="1997">
                  <c:v>1.0224530906504439</c:v>
                </c:pt>
                <c:pt idx="1998">
                  <c:v>1.0464140507425335</c:v>
                </c:pt>
                <c:pt idx="1999">
                  <c:v>1.0500402450044626</c:v>
                </c:pt>
                <c:pt idx="2000">
                  <c:v>1.0524716429148031</c:v>
                </c:pt>
                <c:pt idx="2001">
                  <c:v>1.0988390745818772</c:v>
                </c:pt>
                <c:pt idx="2002">
                  <c:v>1.0609975018466025</c:v>
                </c:pt>
                <c:pt idx="2003">
                  <c:v>1.0805225736920374</c:v>
                </c:pt>
                <c:pt idx="2004">
                  <c:v>1.1097505289744807</c:v>
                </c:pt>
                <c:pt idx="2005">
                  <c:v>1.1216686877867681</c:v>
                </c:pt>
                <c:pt idx="2006">
                  <c:v>1.1347326907998607</c:v>
                </c:pt>
                <c:pt idx="2007">
                  <c:v>1.1359177048792155</c:v>
                </c:pt>
                <c:pt idx="2008">
                  <c:v>1.1121073669834782</c:v>
                </c:pt>
                <c:pt idx="2009">
                  <c:v>1.145928087968743</c:v>
                </c:pt>
                <c:pt idx="2010">
                  <c:v>1.129818521919834</c:v>
                </c:pt>
                <c:pt idx="2011">
                  <c:v>1.135305936693926</c:v>
                </c:pt>
                <c:pt idx="2012">
                  <c:v>1.1498923745804559</c:v>
                </c:pt>
                <c:pt idx="2013">
                  <c:v>1.1446486994538063</c:v>
                </c:pt>
                <c:pt idx="2014">
                  <c:v>1.1482524356229247</c:v>
                </c:pt>
                <c:pt idx="2015">
                  <c:v>1.1200776662779341</c:v>
                </c:pt>
                <c:pt idx="2016">
                  <c:v>1.1555575854683025</c:v>
                </c:pt>
                <c:pt idx="2017">
                  <c:v>1.1824507991764892</c:v>
                </c:pt>
                <c:pt idx="2018">
                  <c:v>1.1679345798441361</c:v>
                </c:pt>
                <c:pt idx="2019">
                  <c:v>1.2168613778500927</c:v>
                </c:pt>
                <c:pt idx="2020">
                  <c:v>1.2642082821454543</c:v>
                </c:pt>
                <c:pt idx="2021">
                  <c:v>1.2366366978949985</c:v>
                </c:pt>
                <c:pt idx="2022">
                  <c:v>1.1993698166075581</c:v>
                </c:pt>
                <c:pt idx="2023">
                  <c:v>1.2434534808909361</c:v>
                </c:pt>
                <c:pt idx="2024">
                  <c:v>1.2795522570394007</c:v>
                </c:pt>
                <c:pt idx="2025">
                  <c:v>1.291548124980167</c:v>
                </c:pt>
                <c:pt idx="2026">
                  <c:v>1.2749236536281869</c:v>
                </c:pt>
                <c:pt idx="2027">
                  <c:v>1.2749590758770617</c:v>
                </c:pt>
                <c:pt idx="2028">
                  <c:v>1.2608560839826763</c:v>
                </c:pt>
                <c:pt idx="2029">
                  <c:v>1.2631046406902848</c:v>
                </c:pt>
                <c:pt idx="2030">
                  <c:v>1.2442099881545943</c:v>
                </c:pt>
                <c:pt idx="2031">
                  <c:v>1.2527483764202834</c:v>
                </c:pt>
                <c:pt idx="2032">
                  <c:v>1.1934222048964001</c:v>
                </c:pt>
                <c:pt idx="2033">
                  <c:v>1.1927327436812751</c:v>
                </c:pt>
                <c:pt idx="2034">
                  <c:v>1.1932755137070832</c:v>
                </c:pt>
                <c:pt idx="2035">
                  <c:v>1.1770853378039834</c:v>
                </c:pt>
                <c:pt idx="2036">
                  <c:v>1.1479325970246808</c:v>
                </c:pt>
                <c:pt idx="2037">
                  <c:v>1.1660956820882866</c:v>
                </c:pt>
                <c:pt idx="2038">
                  <c:v>1.1626189383021956</c:v>
                </c:pt>
                <c:pt idx="2039">
                  <c:v>1.2228305784759856</c:v>
                </c:pt>
                <c:pt idx="2040">
                  <c:v>1.2575515551970402</c:v>
                </c:pt>
                <c:pt idx="2041">
                  <c:v>1.2923016892018591</c:v>
                </c:pt>
                <c:pt idx="2042">
                  <c:v>1.3017752973271475</c:v>
                </c:pt>
                <c:pt idx="2043">
                  <c:v>1.2721897133158508</c:v>
                </c:pt>
                <c:pt idx="2044">
                  <c:v>1.3104420989206873</c:v>
                </c:pt>
                <c:pt idx="2045">
                  <c:v>1.344391775975972</c:v>
                </c:pt>
                <c:pt idx="2046">
                  <c:v>1.3601026210492158</c:v>
                </c:pt>
                <c:pt idx="2047">
                  <c:v>1.3457344798743107</c:v>
                </c:pt>
                <c:pt idx="2048">
                  <c:v>1.3476914550684502</c:v>
                </c:pt>
                <c:pt idx="2049">
                  <c:v>1.3873565023151511</c:v>
                </c:pt>
                <c:pt idx="2050">
                  <c:v>1.3656486111120452</c:v>
                </c:pt>
                <c:pt idx="2051">
                  <c:v>1.3238752174573893</c:v>
                </c:pt>
                <c:pt idx="2052">
                  <c:v>1.3415120661611339</c:v>
                </c:pt>
                <c:pt idx="2053">
                  <c:v>1.3675182764991258</c:v>
                </c:pt>
                <c:pt idx="2054">
                  <c:v>1.3240175095486457</c:v>
                </c:pt>
                <c:pt idx="2055">
                  <c:v>1.320488342381557</c:v>
                </c:pt>
                <c:pt idx="2056">
                  <c:v>1.3371087408831925</c:v>
                </c:pt>
                <c:pt idx="2057">
                  <c:v>1.3309894451969955</c:v>
                </c:pt>
                <c:pt idx="2058">
                  <c:v>1.3309933229759088</c:v>
                </c:pt>
                <c:pt idx="2059">
                  <c:v>1.3492279751888698</c:v>
                </c:pt>
                <c:pt idx="2060">
                  <c:v>1.3385581233037158</c:v>
                </c:pt>
                <c:pt idx="2061">
                  <c:v>1.3316194360930025</c:v>
                </c:pt>
                <c:pt idx="2062">
                  <c:v>1.3165439441922355</c:v>
                </c:pt>
                <c:pt idx="2063">
                  <c:v>1.3158392391268041</c:v>
                </c:pt>
                <c:pt idx="2064">
                  <c:v>1.3217532344969791</c:v>
                </c:pt>
                <c:pt idx="2065">
                  <c:v>1.2909955315048895</c:v>
                </c:pt>
                <c:pt idx="2066">
                  <c:v>1.3297059259333872</c:v>
                </c:pt>
                <c:pt idx="2067">
                  <c:v>1.3301614422187977</c:v>
                </c:pt>
                <c:pt idx="2068">
                  <c:v>1.3033491185139856</c:v>
                </c:pt>
                <c:pt idx="2069">
                  <c:v>1.2824659546090038</c:v>
                </c:pt>
                <c:pt idx="2070">
                  <c:v>1.2389549012421031</c:v>
                </c:pt>
                <c:pt idx="2071">
                  <c:v>1.2010542859710647</c:v>
                </c:pt>
                <c:pt idx="2072">
                  <c:v>1.1924315989940764</c:v>
                </c:pt>
                <c:pt idx="2073">
                  <c:v>1.1415223753099779</c:v>
                </c:pt>
                <c:pt idx="2074">
                  <c:v>1.1417849636537549</c:v>
                </c:pt>
                <c:pt idx="2075">
                  <c:v>1.101289469042384</c:v>
                </c:pt>
                <c:pt idx="2076">
                  <c:v>1.092084226142493</c:v>
                </c:pt>
                <c:pt idx="2077">
                  <c:v>1.0656074041526487</c:v>
                </c:pt>
                <c:pt idx="2078">
                  <c:v>1.0743303991098891</c:v>
                </c:pt>
                <c:pt idx="2079">
                  <c:v>1.0678498142559429</c:v>
                </c:pt>
                <c:pt idx="2080">
                  <c:v>1.0161049391238233</c:v>
                </c:pt>
                <c:pt idx="2081">
                  <c:v>0.9926722921336596</c:v>
                </c:pt>
                <c:pt idx="2082">
                  <c:v>1.0104816268886687</c:v>
                </c:pt>
                <c:pt idx="2083">
                  <c:v>0.9785154434745934</c:v>
                </c:pt>
                <c:pt idx="2084">
                  <c:v>1.0100936824432813</c:v>
                </c:pt>
                <c:pt idx="2085">
                  <c:v>1.0496021775810094</c:v>
                </c:pt>
                <c:pt idx="2086">
                  <c:v>1.0272959599099534</c:v>
                </c:pt>
                <c:pt idx="2087">
                  <c:v>1.0004245335415505</c:v>
                </c:pt>
                <c:pt idx="2088">
                  <c:v>1.004375053111052</c:v>
                </c:pt>
                <c:pt idx="2089">
                  <c:v>1.0242623361880165</c:v>
                </c:pt>
                <c:pt idx="2090">
                  <c:v>1.0023143112290793</c:v>
                </c:pt>
                <c:pt idx="2091">
                  <c:v>1.0306371346045158</c:v>
                </c:pt>
                <c:pt idx="2092">
                  <c:v>1.0480206638363374</c:v>
                </c:pt>
                <c:pt idx="2093">
                  <c:v>1.0454591006743381</c:v>
                </c:pt>
                <c:pt idx="2094">
                  <c:v>1.0501804248466939</c:v>
                </c:pt>
                <c:pt idx="2095">
                  <c:v>1.0324526597494221</c:v>
                </c:pt>
                <c:pt idx="2096">
                  <c:v>1.0337478530356978</c:v>
                </c:pt>
                <c:pt idx="2097">
                  <c:v>1.0031221154448864</c:v>
                </c:pt>
                <c:pt idx="2098">
                  <c:v>1.0051858010455861</c:v>
                </c:pt>
                <c:pt idx="2099">
                  <c:v>0.99274551417469459</c:v>
                </c:pt>
                <c:pt idx="2100">
                  <c:v>1.0039768236197446</c:v>
                </c:pt>
                <c:pt idx="2101">
                  <c:v>1.054219376896316</c:v>
                </c:pt>
                <c:pt idx="2102">
                  <c:v>1.0870963594013443</c:v>
                </c:pt>
                <c:pt idx="2103">
                  <c:v>1.0915791067240894</c:v>
                </c:pt>
                <c:pt idx="2104">
                  <c:v>1.0921470419729771</c:v>
                </c:pt>
                <c:pt idx="2105">
                  <c:v>1.1247872917191517</c:v>
                </c:pt>
                <c:pt idx="2106">
                  <c:v>1.1657254882597772</c:v>
                </c:pt>
                <c:pt idx="2107">
                  <c:v>1.1418829008001592</c:v>
                </c:pt>
                <c:pt idx="2108">
                  <c:v>1.1770382915542499</c:v>
                </c:pt>
                <c:pt idx="2109">
                  <c:v>1.1813711734515817</c:v>
                </c:pt>
                <c:pt idx="2110">
                  <c:v>1.1617951441580607</c:v>
                </c:pt>
                <c:pt idx="2111">
                  <c:v>1.1642014199598625</c:v>
                </c:pt>
                <c:pt idx="2112">
                  <c:v>1.1930572456499522</c:v>
                </c:pt>
                <c:pt idx="2113">
                  <c:v>1.1792364031964315</c:v>
                </c:pt>
                <c:pt idx="2114">
                  <c:v>1.179362959078889</c:v>
                </c:pt>
                <c:pt idx="2115">
                  <c:v>1.1250879057651122</c:v>
                </c:pt>
                <c:pt idx="2116">
                  <c:v>1.128606334407404</c:v>
                </c:pt>
                <c:pt idx="2117">
                  <c:v>1.1078610603465848</c:v>
                </c:pt>
                <c:pt idx="2118">
                  <c:v>1.1157920182350249</c:v>
                </c:pt>
                <c:pt idx="2119">
                  <c:v>1.1207305605038675</c:v>
                </c:pt>
                <c:pt idx="2120">
                  <c:v>1.1009946627081482</c:v>
                </c:pt>
                <c:pt idx="2121">
                  <c:v>1.1218487046518499</c:v>
                </c:pt>
                <c:pt idx="2122">
                  <c:v>1.0860535244933911</c:v>
                </c:pt>
                <c:pt idx="2123">
                  <c:v>1.0647092591180063</c:v>
                </c:pt>
                <c:pt idx="2124">
                  <c:v>1.0779084685940024</c:v>
                </c:pt>
                <c:pt idx="2125">
                  <c:v>1.0847849992619076</c:v>
                </c:pt>
                <c:pt idx="2126">
                  <c:v>1.0955392446458232</c:v>
                </c:pt>
                <c:pt idx="2127">
                  <c:v>1.1223011115321229</c:v>
                </c:pt>
                <c:pt idx="2128">
                  <c:v>1.1161675019785873</c:v>
                </c:pt>
                <c:pt idx="2129">
                  <c:v>1.1639638430625716</c:v>
                </c:pt>
                <c:pt idx="2130">
                  <c:v>1.1820628042190826</c:v>
                </c:pt>
                <c:pt idx="2131">
                  <c:v>1.1703383390955755</c:v>
                </c:pt>
                <c:pt idx="2132">
                  <c:v>1.1356266802912165</c:v>
                </c:pt>
                <c:pt idx="2133">
                  <c:v>1.0973296032024822</c:v>
                </c:pt>
                <c:pt idx="2134">
                  <c:v>1.0820609566833541</c:v>
                </c:pt>
                <c:pt idx="2135">
                  <c:v>1.110917861330736</c:v>
                </c:pt>
                <c:pt idx="2136">
                  <c:v>1.1074426609589449</c:v>
                </c:pt>
                <c:pt idx="2137">
                  <c:v>1.0756854278946737</c:v>
                </c:pt>
                <c:pt idx="2138">
                  <c:v>1.071958011535258</c:v>
                </c:pt>
                <c:pt idx="2139">
                  <c:v>1.0689179535389284</c:v>
                </c:pt>
                <c:pt idx="2140">
                  <c:v>1.0715492753309885</c:v>
                </c:pt>
                <c:pt idx="2141">
                  <c:v>1.0894515735831476</c:v>
                </c:pt>
                <c:pt idx="2142">
                  <c:v>1.0837706974868733</c:v>
                </c:pt>
                <c:pt idx="2143">
                  <c:v>1.0520594242998185</c:v>
                </c:pt>
                <c:pt idx="2144">
                  <c:v>1.0456987168642857</c:v>
                </c:pt>
                <c:pt idx="2145">
                  <c:v>1.0517124796183352</c:v>
                </c:pt>
                <c:pt idx="2146">
                  <c:v>1.0828309174099737</c:v>
                </c:pt>
                <c:pt idx="2147">
                  <c:v>1.0565411207259976</c:v>
                </c:pt>
                <c:pt idx="2148">
                  <c:v>1.0552989690028582</c:v>
                </c:pt>
                <c:pt idx="2149">
                  <c:v>1.0413194690195422</c:v>
                </c:pt>
                <c:pt idx="2150">
                  <c:v>1.0417485301165541</c:v>
                </c:pt>
                <c:pt idx="2151">
                  <c:v>1.0409389888435465</c:v>
                </c:pt>
                <c:pt idx="2152">
                  <c:v>1.0609139902101663</c:v>
                </c:pt>
                <c:pt idx="2153">
                  <c:v>1.099138861363359</c:v>
                </c:pt>
                <c:pt idx="2154">
                  <c:v>1.1705236398287098</c:v>
                </c:pt>
                <c:pt idx="2155">
                  <c:v>1.1609334397858064</c:v>
                </c:pt>
                <c:pt idx="2156">
                  <c:v>1.1561429200634776</c:v>
                </c:pt>
                <c:pt idx="2157">
                  <c:v>1.1516154151955982</c:v>
                </c:pt>
                <c:pt idx="2158">
                  <c:v>1.1433091003419558</c:v>
                </c:pt>
                <c:pt idx="2159">
                  <c:v>1.1375931959931429</c:v>
                </c:pt>
                <c:pt idx="2160">
                  <c:v>1.1285961400393978</c:v>
                </c:pt>
                <c:pt idx="2161">
                  <c:v>1.1086821587056672</c:v>
                </c:pt>
                <c:pt idx="2162">
                  <c:v>1.122823725381491</c:v>
                </c:pt>
                <c:pt idx="2163">
                  <c:v>1.1118414445636853</c:v>
                </c:pt>
                <c:pt idx="2164">
                  <c:v>1.137788365906155</c:v>
                </c:pt>
                <c:pt idx="2165">
                  <c:v>1.1336187180218322</c:v>
                </c:pt>
                <c:pt idx="2166">
                  <c:v>1.12304788817743</c:v>
                </c:pt>
                <c:pt idx="2167">
                  <c:v>1.0959889725526393</c:v>
                </c:pt>
                <c:pt idx="2168">
                  <c:v>1.0779273221455874</c:v>
                </c:pt>
                <c:pt idx="2169">
                  <c:v>1.0879854126156823</c:v>
                </c:pt>
                <c:pt idx="2170">
                  <c:v>1.0899424863982108</c:v>
                </c:pt>
                <c:pt idx="2171">
                  <c:v>1.0784030407410627</c:v>
                </c:pt>
                <c:pt idx="2172">
                  <c:v>1.1022506789019384</c:v>
                </c:pt>
                <c:pt idx="2173">
                  <c:v>1.1419127511254068</c:v>
                </c:pt>
                <c:pt idx="2174">
                  <c:v>1.1333716944804395</c:v>
                </c:pt>
                <c:pt idx="2175">
                  <c:v>1.1291260299000505</c:v>
                </c:pt>
                <c:pt idx="2176">
                  <c:v>1.1602039123703944</c:v>
                </c:pt>
                <c:pt idx="2177">
                  <c:v>1.1797411781029887</c:v>
                </c:pt>
                <c:pt idx="2178">
                  <c:v>1.1604430003189503</c:v>
                </c:pt>
                <c:pt idx="2179">
                  <c:v>1.1589612516368695</c:v>
                </c:pt>
                <c:pt idx="2180">
                  <c:v>1.1619813445840215</c:v>
                </c:pt>
                <c:pt idx="2181">
                  <c:v>1.1964885002300669</c:v>
                </c:pt>
                <c:pt idx="2182">
                  <c:v>1.2202427045733633</c:v>
                </c:pt>
                <c:pt idx="2183">
                  <c:v>1.1623169297404603</c:v>
                </c:pt>
                <c:pt idx="2184">
                  <c:v>1.152760128551684</c:v>
                </c:pt>
                <c:pt idx="2185">
                  <c:v>1.1230656967158177</c:v>
                </c:pt>
                <c:pt idx="2186">
                  <c:v>1.1228864495106454</c:v>
                </c:pt>
                <c:pt idx="2187">
                  <c:v>1.1432917011762549</c:v>
                </c:pt>
                <c:pt idx="2188">
                  <c:v>1.1411573072981658</c:v>
                </c:pt>
                <c:pt idx="2189">
                  <c:v>1.1567939566165255</c:v>
                </c:pt>
                <c:pt idx="2190">
                  <c:v>1.140746501482762</c:v>
                </c:pt>
                <c:pt idx="2191">
                  <c:v>1.1217243829915837</c:v>
                </c:pt>
                <c:pt idx="2192">
                  <c:v>1.1949782919700134</c:v>
                </c:pt>
                <c:pt idx="2193">
                  <c:v>1.1913611082801812</c:v>
                </c:pt>
                <c:pt idx="2194">
                  <c:v>1.2025007097666294</c:v>
                </c:pt>
                <c:pt idx="2195">
                  <c:v>1.1966055035736698</c:v>
                </c:pt>
                <c:pt idx="2196">
                  <c:v>1.1702082343873492</c:v>
                </c:pt>
                <c:pt idx="2197">
                  <c:v>1.143114120494152</c:v>
                </c:pt>
                <c:pt idx="2198">
                  <c:v>1.1372474787648417</c:v>
                </c:pt>
                <c:pt idx="2199">
                  <c:v>1.1374017740881734</c:v>
                </c:pt>
                <c:pt idx="2200">
                  <c:v>1.1053647284022134</c:v>
                </c:pt>
                <c:pt idx="2201">
                  <c:v>1.1043019495133226</c:v>
                </c:pt>
                <c:pt idx="2202">
                  <c:v>1.1036205324158719</c:v>
                </c:pt>
                <c:pt idx="2203">
                  <c:v>1.0702803371079936</c:v>
                </c:pt>
                <c:pt idx="2204">
                  <c:v>1.0382830119496447</c:v>
                </c:pt>
                <c:pt idx="2205">
                  <c:v>1.0451120226009012</c:v>
                </c:pt>
                <c:pt idx="2206">
                  <c:v>1.0407638840609295</c:v>
                </c:pt>
                <c:pt idx="2207">
                  <c:v>1.0272563939566068</c:v>
                </c:pt>
                <c:pt idx="2208">
                  <c:v>1.0505472204358979</c:v>
                </c:pt>
                <c:pt idx="2209">
                  <c:v>1.0743132840368605</c:v>
                </c:pt>
                <c:pt idx="2210">
                  <c:v>1.0757737900282884</c:v>
                </c:pt>
                <c:pt idx="2211">
                  <c:v>1.0903176019482945</c:v>
                </c:pt>
                <c:pt idx="2212">
                  <c:v>1.0872392778555364</c:v>
                </c:pt>
                <c:pt idx="2213">
                  <c:v>1.0713724491189716</c:v>
                </c:pt>
                <c:pt idx="2214">
                  <c:v>1.0427479205476515</c:v>
                </c:pt>
                <c:pt idx="2215">
                  <c:v>1.0612284421610707</c:v>
                </c:pt>
                <c:pt idx="2216">
                  <c:v>1.069189623786587</c:v>
                </c:pt>
                <c:pt idx="2217">
                  <c:v>1.0742859594077572</c:v>
                </c:pt>
                <c:pt idx="2218">
                  <c:v>1.0723925617289651</c:v>
                </c:pt>
                <c:pt idx="2219">
                  <c:v>1.0818625913981248</c:v>
                </c:pt>
                <c:pt idx="2220">
                  <c:v>1.0501770460055717</c:v>
                </c:pt>
                <c:pt idx="2221">
                  <c:v>1.0677888921877627</c:v>
                </c:pt>
                <c:pt idx="2222">
                  <c:v>1.0980253047596278</c:v>
                </c:pt>
                <c:pt idx="2223">
                  <c:v>1.4105539977771715</c:v>
                </c:pt>
                <c:pt idx="2224">
                  <c:v>1.4796067481031092</c:v>
                </c:pt>
                <c:pt idx="2225">
                  <c:v>1.556280926626245</c:v>
                </c:pt>
                <c:pt idx="2226">
                  <c:v>1.6684611414849191</c:v>
                </c:pt>
                <c:pt idx="2227">
                  <c:v>1.6797507495593385</c:v>
                </c:pt>
                <c:pt idx="2228">
                  <c:v>1.6761082676042085</c:v>
                </c:pt>
                <c:pt idx="2229">
                  <c:v>1.7633707945692487</c:v>
                </c:pt>
                <c:pt idx="2230">
                  <c:v>1.8596576167705985</c:v>
                </c:pt>
                <c:pt idx="2231">
                  <c:v>1.8755709094990618</c:v>
                </c:pt>
                <c:pt idx="2232">
                  <c:v>1.9682661438187732</c:v>
                </c:pt>
                <c:pt idx="2233">
                  <c:v>2.2264342483813859</c:v>
                </c:pt>
                <c:pt idx="2234">
                  <c:v>2.3836799056234694</c:v>
                </c:pt>
                <c:pt idx="2235">
                  <c:v>2.4897133315139461</c:v>
                </c:pt>
                <c:pt idx="2236">
                  <c:v>2.4819473363963942</c:v>
                </c:pt>
                <c:pt idx="2237">
                  <c:v>2.5190721538155723</c:v>
                </c:pt>
                <c:pt idx="2238">
                  <c:v>2.5100925742256583</c:v>
                </c:pt>
                <c:pt idx="2239">
                  <c:v>2.5899030579275282</c:v>
                </c:pt>
                <c:pt idx="2240">
                  <c:v>2.7167362613950017</c:v>
                </c:pt>
                <c:pt idx="2241">
                  <c:v>2.7161045001829325</c:v>
                </c:pt>
                <c:pt idx="2242">
                  <c:v>2.7961375048871533</c:v>
                </c:pt>
                <c:pt idx="2243">
                  <c:v>2.8934177431817782</c:v>
                </c:pt>
                <c:pt idx="2244">
                  <c:v>2.9095921082789489</c:v>
                </c:pt>
                <c:pt idx="2245">
                  <c:v>3.0140254224727143</c:v>
                </c:pt>
                <c:pt idx="2246">
                  <c:v>3.1758540972960052</c:v>
                </c:pt>
                <c:pt idx="2247">
                  <c:v>3.3406385327436445</c:v>
                </c:pt>
                <c:pt idx="2248">
                  <c:v>3.3838298592170717</c:v>
                </c:pt>
                <c:pt idx="2249">
                  <c:v>3.4981241055835213</c:v>
                </c:pt>
                <c:pt idx="2250">
                  <c:v>3.4986303925473337</c:v>
                </c:pt>
                <c:pt idx="2251">
                  <c:v>3.5610211172990058</c:v>
                </c:pt>
                <c:pt idx="2252">
                  <c:v>3.6736973845321392</c:v>
                </c:pt>
                <c:pt idx="2253">
                  <c:v>3.627155614177914</c:v>
                </c:pt>
                <c:pt idx="2254">
                  <c:v>3.5688538866863295</c:v>
                </c:pt>
                <c:pt idx="2255">
                  <c:v>3.6412936080169294</c:v>
                </c:pt>
                <c:pt idx="2256">
                  <c:v>3.7577084643737075</c:v>
                </c:pt>
                <c:pt idx="2257">
                  <c:v>3.7419486614525104</c:v>
                </c:pt>
                <c:pt idx="2258">
                  <c:v>3.7479396777372216</c:v>
                </c:pt>
                <c:pt idx="2259">
                  <c:v>3.782648102410092</c:v>
                </c:pt>
                <c:pt idx="2260">
                  <c:v>3.7388659369685429</c:v>
                </c:pt>
                <c:pt idx="2261">
                  <c:v>3.6571261118328233</c:v>
                </c:pt>
                <c:pt idx="2262">
                  <c:v>3.682941642191055</c:v>
                </c:pt>
                <c:pt idx="2263">
                  <c:v>3.698117277460176</c:v>
                </c:pt>
                <c:pt idx="2264">
                  <c:v>3.7236908213939204</c:v>
                </c:pt>
                <c:pt idx="2265">
                  <c:v>3.7513840599959098</c:v>
                </c:pt>
                <c:pt idx="2266">
                  <c:v>3.6397794745912719</c:v>
                </c:pt>
                <c:pt idx="2267">
                  <c:v>3.6839508653746487</c:v>
                </c:pt>
                <c:pt idx="2268">
                  <c:v>3.5918979917023957</c:v>
                </c:pt>
                <c:pt idx="2269">
                  <c:v>3.5780249853374317</c:v>
                </c:pt>
                <c:pt idx="2270">
                  <c:v>3.5735171072948608</c:v>
                </c:pt>
                <c:pt idx="2271">
                  <c:v>3.596838785282408</c:v>
                </c:pt>
                <c:pt idx="2272">
                  <c:v>3.5760742877949223</c:v>
                </c:pt>
                <c:pt idx="2273">
                  <c:v>3.6023671727506938</c:v>
                </c:pt>
                <c:pt idx="2274">
                  <c:v>3.3330732049037435</c:v>
                </c:pt>
                <c:pt idx="2275">
                  <c:v>7.6261178133586709</c:v>
                </c:pt>
                <c:pt idx="2276">
                  <c:v>9.956071914012556</c:v>
                </c:pt>
                <c:pt idx="2277">
                  <c:v>11.823605594204844</c:v>
                </c:pt>
                <c:pt idx="2278">
                  <c:v>13.335481735515978</c:v>
                </c:pt>
                <c:pt idx="2279">
                  <c:v>14.578678716477683</c:v>
                </c:pt>
                <c:pt idx="2280">
                  <c:v>15.651207270758952</c:v>
                </c:pt>
                <c:pt idx="2281">
                  <c:v>16.477393395749196</c:v>
                </c:pt>
                <c:pt idx="2282">
                  <c:v>17.251638843764916</c:v>
                </c:pt>
                <c:pt idx="2283">
                  <c:v>17.934061141644904</c:v>
                </c:pt>
                <c:pt idx="2284">
                  <c:v>18.399434569386045</c:v>
                </c:pt>
                <c:pt idx="2285">
                  <c:v>18.752998492857564</c:v>
                </c:pt>
                <c:pt idx="2286">
                  <c:v>18.835925237956648</c:v>
                </c:pt>
                <c:pt idx="2287">
                  <c:v>18.808690613135326</c:v>
                </c:pt>
                <c:pt idx="2288">
                  <c:v>18.687551057217984</c:v>
                </c:pt>
                <c:pt idx="2289">
                  <c:v>18.597628840651257</c:v>
                </c:pt>
                <c:pt idx="2290">
                  <c:v>18.577260449443333</c:v>
                </c:pt>
                <c:pt idx="2291">
                  <c:v>18.712387237576934</c:v>
                </c:pt>
                <c:pt idx="2292">
                  <c:v>18.894990551915846</c:v>
                </c:pt>
                <c:pt idx="2293">
                  <c:v>19.070745783298111</c:v>
                </c:pt>
                <c:pt idx="2294">
                  <c:v>19.297455740706237</c:v>
                </c:pt>
                <c:pt idx="2295">
                  <c:v>19.519519323581097</c:v>
                </c:pt>
                <c:pt idx="2296">
                  <c:v>19.80541100712859</c:v>
                </c:pt>
                <c:pt idx="2297">
                  <c:v>19.96279011141123</c:v>
                </c:pt>
                <c:pt idx="2298">
                  <c:v>20.154470135719595</c:v>
                </c:pt>
                <c:pt idx="2299">
                  <c:v>20.317719487218302</c:v>
                </c:pt>
                <c:pt idx="2300">
                  <c:v>20.533219096177124</c:v>
                </c:pt>
                <c:pt idx="2301">
                  <c:v>20.604348544050872</c:v>
                </c:pt>
                <c:pt idx="2302">
                  <c:v>20.859980319375449</c:v>
                </c:pt>
                <c:pt idx="2303">
                  <c:v>20.95645150747011</c:v>
                </c:pt>
                <c:pt idx="2304">
                  <c:v>21.201385093726142</c:v>
                </c:pt>
                <c:pt idx="2305">
                  <c:v>21.370342951142877</c:v>
                </c:pt>
                <c:pt idx="2306">
                  <c:v>21.399879087187294</c:v>
                </c:pt>
                <c:pt idx="2307">
                  <c:v>21.313530197092298</c:v>
                </c:pt>
                <c:pt idx="2308">
                  <c:v>21.079327941175272</c:v>
                </c:pt>
                <c:pt idx="2309">
                  <c:v>20.802393209095101</c:v>
                </c:pt>
                <c:pt idx="2310">
                  <c:v>20.402051525560182</c:v>
                </c:pt>
                <c:pt idx="2311">
                  <c:v>19.934610929316516</c:v>
                </c:pt>
                <c:pt idx="2312">
                  <c:v>19.338285470698693</c:v>
                </c:pt>
                <c:pt idx="2313">
                  <c:v>18.647931944493237</c:v>
                </c:pt>
                <c:pt idx="2314">
                  <c:v>17.799117720069805</c:v>
                </c:pt>
                <c:pt idx="2315">
                  <c:v>16.804334348709727</c:v>
                </c:pt>
                <c:pt idx="2316">
                  <c:v>15.657068443934973</c:v>
                </c:pt>
                <c:pt idx="2317">
                  <c:v>14.287381092930348</c:v>
                </c:pt>
                <c:pt idx="2318">
                  <c:v>12.598776182245714</c:v>
                </c:pt>
                <c:pt idx="2319">
                  <c:v>10.483367133302767</c:v>
                </c:pt>
                <c:pt idx="2320">
                  <c:v>7.5810766818383994</c:v>
                </c:pt>
                <c:pt idx="2321">
                  <c:v>1.1617485893885287</c:v>
                </c:pt>
                <c:pt idx="2322">
                  <c:v>1.1418372292338852</c:v>
                </c:pt>
                <c:pt idx="2323">
                  <c:v>1.1428326437466261</c:v>
                </c:pt>
                <c:pt idx="2324">
                  <c:v>1.1643532516481652</c:v>
                </c:pt>
                <c:pt idx="2325">
                  <c:v>1.1784661983464613</c:v>
                </c:pt>
                <c:pt idx="2326">
                  <c:v>1.1787376152441214</c:v>
                </c:pt>
                <c:pt idx="2327">
                  <c:v>1.1419164235089927</c:v>
                </c:pt>
                <c:pt idx="2328">
                  <c:v>1.1604013951428451</c:v>
                </c:pt>
                <c:pt idx="2329">
                  <c:v>1.1788121413168973</c:v>
                </c:pt>
                <c:pt idx="2330">
                  <c:v>1.2146012222257381</c:v>
                </c:pt>
                <c:pt idx="2331">
                  <c:v>1.2177425792207934</c:v>
                </c:pt>
                <c:pt idx="2332">
                  <c:v>1.18613368482628</c:v>
                </c:pt>
                <c:pt idx="2333">
                  <c:v>1.1540109576267372</c:v>
                </c:pt>
                <c:pt idx="2334">
                  <c:v>1.1365414429808101</c:v>
                </c:pt>
                <c:pt idx="2335">
                  <c:v>1.0945013103142311</c:v>
                </c:pt>
                <c:pt idx="2336">
                  <c:v>1.0899508719322191</c:v>
                </c:pt>
                <c:pt idx="2337">
                  <c:v>1.0737525395215748</c:v>
                </c:pt>
                <c:pt idx="2338">
                  <c:v>1.1543514680667912</c:v>
                </c:pt>
                <c:pt idx="2339">
                  <c:v>1.1367620494145845</c:v>
                </c:pt>
                <c:pt idx="2340">
                  <c:v>1.140296320666137</c:v>
                </c:pt>
                <c:pt idx="2341">
                  <c:v>1.1266306223158427</c:v>
                </c:pt>
                <c:pt idx="2342">
                  <c:v>1.1483928929417571</c:v>
                </c:pt>
                <c:pt idx="2343">
                  <c:v>1.2199956812897288</c:v>
                </c:pt>
                <c:pt idx="2344">
                  <c:v>1.2189005269601183</c:v>
                </c:pt>
                <c:pt idx="2345">
                  <c:v>1.2013717070476655</c:v>
                </c:pt>
                <c:pt idx="2346">
                  <c:v>1.1953644335650349</c:v>
                </c:pt>
                <c:pt idx="2347">
                  <c:v>1.2546440183985352</c:v>
                </c:pt>
                <c:pt idx="2348">
                  <c:v>1.2496588781855451</c:v>
                </c:pt>
                <c:pt idx="2349">
                  <c:v>1.2594462001938764</c:v>
                </c:pt>
                <c:pt idx="2350">
                  <c:v>1.2762595718049106</c:v>
                </c:pt>
                <c:pt idx="2351">
                  <c:v>1.3067832129283707</c:v>
                </c:pt>
                <c:pt idx="2352">
                  <c:v>1.3075597397894587</c:v>
                </c:pt>
                <c:pt idx="2353">
                  <c:v>1.325652527495766</c:v>
                </c:pt>
                <c:pt idx="2354">
                  <c:v>1.3607359646865351</c:v>
                </c:pt>
                <c:pt idx="2355">
                  <c:v>1.351997407263531</c:v>
                </c:pt>
                <c:pt idx="2356">
                  <c:v>1.3729303876971923</c:v>
                </c:pt>
                <c:pt idx="2357">
                  <c:v>1.3714746792044401</c:v>
                </c:pt>
                <c:pt idx="2358">
                  <c:v>1.3754026585397738</c:v>
                </c:pt>
                <c:pt idx="2359">
                  <c:v>1.3665342710589048</c:v>
                </c:pt>
                <c:pt idx="2360">
                  <c:v>1.3458226088989784</c:v>
                </c:pt>
                <c:pt idx="2361">
                  <c:v>1.3327187024218365</c:v>
                </c:pt>
                <c:pt idx="2362">
                  <c:v>1.3003069116620609</c:v>
                </c:pt>
                <c:pt idx="2363">
                  <c:v>1.3003346963688398</c:v>
                </c:pt>
                <c:pt idx="2364">
                  <c:v>1.2866880882945708</c:v>
                </c:pt>
                <c:pt idx="2365">
                  <c:v>1.3048238046917755</c:v>
                </c:pt>
                <c:pt idx="2366">
                  <c:v>1.2727679598300272</c:v>
                </c:pt>
                <c:pt idx="2367">
                  <c:v>1.2365620916280793</c:v>
                </c:pt>
                <c:pt idx="2368">
                  <c:v>1.2498645087858835</c:v>
                </c:pt>
                <c:pt idx="2369">
                  <c:v>1.2096974650668839</c:v>
                </c:pt>
                <c:pt idx="2370">
                  <c:v>1.2293840576851158</c:v>
                </c:pt>
                <c:pt idx="2371">
                  <c:v>1.2112526174278444</c:v>
                </c:pt>
                <c:pt idx="2372">
                  <c:v>1.2452992903638236</c:v>
                </c:pt>
                <c:pt idx="2373">
                  <c:v>1.240884006778864</c:v>
                </c:pt>
                <c:pt idx="2374">
                  <c:v>1.2335692596200536</c:v>
                </c:pt>
                <c:pt idx="2375">
                  <c:v>1.239862722196482</c:v>
                </c:pt>
                <c:pt idx="2376">
                  <c:v>1.2668712624804948</c:v>
                </c:pt>
                <c:pt idx="2377">
                  <c:v>1.2694268455208557</c:v>
                </c:pt>
                <c:pt idx="2378">
                  <c:v>1.2186306434524321</c:v>
                </c:pt>
                <c:pt idx="2379">
                  <c:v>1.2167399594951487</c:v>
                </c:pt>
                <c:pt idx="2380">
                  <c:v>1.1869284476264541</c:v>
                </c:pt>
                <c:pt idx="2381">
                  <c:v>1.1628260902340599</c:v>
                </c:pt>
                <c:pt idx="2382">
                  <c:v>1.1249117528112602</c:v>
                </c:pt>
                <c:pt idx="2383">
                  <c:v>1.1030094707087137</c:v>
                </c:pt>
                <c:pt idx="2384">
                  <c:v>1.0906716880816123</c:v>
                </c:pt>
                <c:pt idx="2385">
                  <c:v>1.0610295264100698</c:v>
                </c:pt>
                <c:pt idx="2386">
                  <c:v>1.0340090055971045</c:v>
                </c:pt>
                <c:pt idx="2387">
                  <c:v>1.0339345458786497</c:v>
                </c:pt>
                <c:pt idx="2388">
                  <c:v>1.0931373414680463</c:v>
                </c:pt>
                <c:pt idx="2389">
                  <c:v>1.1118445392993987</c:v>
                </c:pt>
                <c:pt idx="2390">
                  <c:v>1.1057959717700168</c:v>
                </c:pt>
                <c:pt idx="2391">
                  <c:v>1.1139879924450835</c:v>
                </c:pt>
                <c:pt idx="2392">
                  <c:v>1.0883752317841904</c:v>
                </c:pt>
                <c:pt idx="2393">
                  <c:v>1.0837554181878921</c:v>
                </c:pt>
                <c:pt idx="2394">
                  <c:v>1.0824316512232506</c:v>
                </c:pt>
                <c:pt idx="2395">
                  <c:v>1.0817175709147961</c:v>
                </c:pt>
                <c:pt idx="2396">
                  <c:v>1.0655802599159676</c:v>
                </c:pt>
                <c:pt idx="2397">
                  <c:v>1.1001505273351</c:v>
                </c:pt>
                <c:pt idx="2398">
                  <c:v>1.1063904306103862</c:v>
                </c:pt>
                <c:pt idx="2399">
                  <c:v>1.0997720193856797</c:v>
                </c:pt>
                <c:pt idx="2400">
                  <c:v>1.1027020576551894</c:v>
                </c:pt>
                <c:pt idx="2401">
                  <c:v>1.0488020816396262</c:v>
                </c:pt>
                <c:pt idx="2402">
                  <c:v>1.0508137143973673</c:v>
                </c:pt>
                <c:pt idx="2403">
                  <c:v>1.0006364641233765</c:v>
                </c:pt>
                <c:pt idx="2404">
                  <c:v>1.0480007592544243</c:v>
                </c:pt>
                <c:pt idx="2405">
                  <c:v>1.0173429444718562</c:v>
                </c:pt>
                <c:pt idx="2406">
                  <c:v>1.0196737829599787</c:v>
                </c:pt>
                <c:pt idx="2407">
                  <c:v>0.99476619612159922</c:v>
                </c:pt>
                <c:pt idx="2408">
                  <c:v>1.0045620668911202</c:v>
                </c:pt>
                <c:pt idx="2409">
                  <c:v>1.0049036759060355</c:v>
                </c:pt>
                <c:pt idx="2410">
                  <c:v>1.013559892613149</c:v>
                </c:pt>
                <c:pt idx="2411">
                  <c:v>1.0263485752167547</c:v>
                </c:pt>
                <c:pt idx="2412">
                  <c:v>1.0260694394745689</c:v>
                </c:pt>
                <c:pt idx="2413">
                  <c:v>1.0287840196755513</c:v>
                </c:pt>
                <c:pt idx="2414">
                  <c:v>1.0013140828297176</c:v>
                </c:pt>
                <c:pt idx="2415">
                  <c:v>1.0071602791795304</c:v>
                </c:pt>
                <c:pt idx="2416">
                  <c:v>1.0412850827971725</c:v>
                </c:pt>
                <c:pt idx="2417">
                  <c:v>1.0359563655858528</c:v>
                </c:pt>
                <c:pt idx="2418">
                  <c:v>1.0357138725567265</c:v>
                </c:pt>
                <c:pt idx="2419">
                  <c:v>0.99097877107997745</c:v>
                </c:pt>
                <c:pt idx="2420">
                  <c:v>0.97828454202307114</c:v>
                </c:pt>
                <c:pt idx="2421">
                  <c:v>1.0323951689862927</c:v>
                </c:pt>
                <c:pt idx="2422">
                  <c:v>1.0401568326743516</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pt idx="2452">
                  <c:v>#N/A</c:v>
                </c:pt>
              </c:numCache>
            </c:numRef>
          </c:val>
          <c:smooth val="0"/>
          <c:extLst>
            <c:ext xmlns:c16="http://schemas.microsoft.com/office/drawing/2014/chart" uri="{C3380CC4-5D6E-409C-BE32-E72D297353CC}">
              <c16:uniqueId val="{00000000-BF3F-43A4-B953-054E6028043D}"/>
            </c:ext>
          </c:extLst>
        </c:ser>
        <c:ser>
          <c:idx val="1"/>
          <c:order val="1"/>
          <c:tx>
            <c:strRef>
              <c:f>'Data Repository Table'!$D$1</c:f>
              <c:strCache>
                <c:ptCount val="1"/>
                <c:pt idx="0">
                  <c:v>Volumetric Flow Meter 2</c:v>
                </c:pt>
              </c:strCache>
            </c:strRef>
          </c:tx>
          <c:spPr>
            <a:ln w="28575" cap="rnd">
              <a:solidFill>
                <a:schemeClr val="accent2"/>
              </a:solidFill>
              <a:round/>
            </a:ln>
            <a:effectLst/>
          </c:spPr>
          <c:marker>
            <c:symbol val="none"/>
          </c:marker>
          <c:val>
            <c:numRef>
              <c:f>'Data Repository Table'!$D$4908:$D$7360</c:f>
              <c:numCache>
                <c:formatCode>General</c:formatCode>
                <c:ptCount val="2453"/>
                <c:pt idx="0">
                  <c:v>0.99595504497587795</c:v>
                </c:pt>
                <c:pt idx="1">
                  <c:v>1.0106233570883234</c:v>
                </c:pt>
                <c:pt idx="2">
                  <c:v>1.0359210747534193</c:v>
                </c:pt>
                <c:pt idx="3">
                  <c:v>1.0311711683782783</c:v>
                </c:pt>
                <c:pt idx="4">
                  <c:v>1.0619924467665705</c:v>
                </c:pt>
                <c:pt idx="5">
                  <c:v>1.0486480800053581</c:v>
                </c:pt>
                <c:pt idx="6">
                  <c:v>1.0107765565701587</c:v>
                </c:pt>
                <c:pt idx="7">
                  <c:v>1.0506114962863444</c:v>
                </c:pt>
                <c:pt idx="8">
                  <c:v>1.0486240857038704</c:v>
                </c:pt>
                <c:pt idx="9">
                  <c:v>1.0537004940602404</c:v>
                </c:pt>
                <c:pt idx="10">
                  <c:v>1.0424726602227163</c:v>
                </c:pt>
                <c:pt idx="11">
                  <c:v>1.0725261106679476</c:v>
                </c:pt>
                <c:pt idx="12">
                  <c:v>1.1092806930231758</c:v>
                </c:pt>
                <c:pt idx="13">
                  <c:v>1.1212376993727164</c:v>
                </c:pt>
                <c:pt idx="14">
                  <c:v>1.0927865141881081</c:v>
                </c:pt>
                <c:pt idx="15">
                  <c:v>1.101887725287737</c:v>
                </c:pt>
                <c:pt idx="16">
                  <c:v>1.1632867784997198</c:v>
                </c:pt>
                <c:pt idx="17">
                  <c:v>1.1652993523748134</c:v>
                </c:pt>
                <c:pt idx="18">
                  <c:v>1.1674993034926884</c:v>
                </c:pt>
                <c:pt idx="19">
                  <c:v>1.1799144310144394</c:v>
                </c:pt>
                <c:pt idx="20">
                  <c:v>1.1858848155275974</c:v>
                </c:pt>
                <c:pt idx="21">
                  <c:v>1.2289510344848118</c:v>
                </c:pt>
                <c:pt idx="22">
                  <c:v>1.2363126757653433</c:v>
                </c:pt>
                <c:pt idx="23">
                  <c:v>1.2348250496429867</c:v>
                </c:pt>
                <c:pt idx="24">
                  <c:v>1.2275903488200484</c:v>
                </c:pt>
                <c:pt idx="25">
                  <c:v>1.2255819771829615</c:v>
                </c:pt>
                <c:pt idx="26">
                  <c:v>1.2172521495971669</c:v>
                </c:pt>
                <c:pt idx="27">
                  <c:v>1.2139698495839686</c:v>
                </c:pt>
                <c:pt idx="28">
                  <c:v>1.2300132003837514</c:v>
                </c:pt>
                <c:pt idx="29">
                  <c:v>1.2458045722576487</c:v>
                </c:pt>
                <c:pt idx="30">
                  <c:v>1.2594321130223041</c:v>
                </c:pt>
                <c:pt idx="31">
                  <c:v>1.2099775168976687</c:v>
                </c:pt>
                <c:pt idx="32">
                  <c:v>1.2286271733861316</c:v>
                </c:pt>
                <c:pt idx="33">
                  <c:v>1.2401609330183505</c:v>
                </c:pt>
                <c:pt idx="34">
                  <c:v>1.2397680150668491</c:v>
                </c:pt>
                <c:pt idx="35">
                  <c:v>1.209528033786786</c:v>
                </c:pt>
                <c:pt idx="36">
                  <c:v>1.1991856555842966</c:v>
                </c:pt>
                <c:pt idx="37">
                  <c:v>1.2126883846559964</c:v>
                </c:pt>
                <c:pt idx="38">
                  <c:v>1.195738400562868</c:v>
                </c:pt>
                <c:pt idx="39">
                  <c:v>1.1924678485780962</c:v>
                </c:pt>
                <c:pt idx="40">
                  <c:v>1.2256426885516021</c:v>
                </c:pt>
                <c:pt idx="41">
                  <c:v>1.2329857981723162</c:v>
                </c:pt>
                <c:pt idx="42">
                  <c:v>1.2117779526182231</c:v>
                </c:pt>
                <c:pt idx="43">
                  <c:v>1.1863785140058056</c:v>
                </c:pt>
                <c:pt idx="44">
                  <c:v>1.1763148214401555</c:v>
                </c:pt>
                <c:pt idx="45">
                  <c:v>1.1956932573161889</c:v>
                </c:pt>
                <c:pt idx="46">
                  <c:v>1.2296513187043707</c:v>
                </c:pt>
                <c:pt idx="47">
                  <c:v>1.2233538423759147</c:v>
                </c:pt>
                <c:pt idx="48">
                  <c:v>1.191221745651005</c:v>
                </c:pt>
                <c:pt idx="49">
                  <c:v>1.222107997269164</c:v>
                </c:pt>
                <c:pt idx="50">
                  <c:v>1.221285767022273</c:v>
                </c:pt>
                <c:pt idx="51">
                  <c:v>1.2569657098341722</c:v>
                </c:pt>
                <c:pt idx="52">
                  <c:v>1.233129335061512</c:v>
                </c:pt>
                <c:pt idx="53">
                  <c:v>1.2559397800781673</c:v>
                </c:pt>
                <c:pt idx="54">
                  <c:v>1.2625367874976738</c:v>
                </c:pt>
                <c:pt idx="55">
                  <c:v>1.2652474788734804</c:v>
                </c:pt>
                <c:pt idx="56">
                  <c:v>1.2526796224730168</c:v>
                </c:pt>
                <c:pt idx="57">
                  <c:v>1.2372864864138644</c:v>
                </c:pt>
                <c:pt idx="58">
                  <c:v>1.2649709079063685</c:v>
                </c:pt>
                <c:pt idx="59">
                  <c:v>1.271360713769357</c:v>
                </c:pt>
                <c:pt idx="60">
                  <c:v>1.2973661490616988</c:v>
                </c:pt>
                <c:pt idx="61">
                  <c:v>1.2887043589323279</c:v>
                </c:pt>
                <c:pt idx="62">
                  <c:v>1.2820488474749421</c:v>
                </c:pt>
                <c:pt idx="63">
                  <c:v>1.283398546031975</c:v>
                </c:pt>
                <c:pt idx="64">
                  <c:v>1.2744841672116278</c:v>
                </c:pt>
                <c:pt idx="65">
                  <c:v>1.2911309537707418</c:v>
                </c:pt>
                <c:pt idx="66">
                  <c:v>1.2927399425792427</c:v>
                </c:pt>
                <c:pt idx="67">
                  <c:v>1.31005195661556</c:v>
                </c:pt>
                <c:pt idx="68">
                  <c:v>1.2958816486515374</c:v>
                </c:pt>
                <c:pt idx="69">
                  <c:v>1.2788232998573585</c:v>
                </c:pt>
                <c:pt idx="70">
                  <c:v>1.3083819112959527</c:v>
                </c:pt>
                <c:pt idx="71">
                  <c:v>1.3054971450366806</c:v>
                </c:pt>
                <c:pt idx="72">
                  <c:v>1.3019328063529483</c:v>
                </c:pt>
                <c:pt idx="73">
                  <c:v>1.3419646166192549</c:v>
                </c:pt>
                <c:pt idx="74">
                  <c:v>1.3402103028681647</c:v>
                </c:pt>
                <c:pt idx="75">
                  <c:v>1.3443397068121683</c:v>
                </c:pt>
                <c:pt idx="76">
                  <c:v>1.3343047805174899</c:v>
                </c:pt>
                <c:pt idx="77">
                  <c:v>1.3154484905091473</c:v>
                </c:pt>
                <c:pt idx="78">
                  <c:v>1.2743729640936758</c:v>
                </c:pt>
                <c:pt idx="79">
                  <c:v>1.2665087903875876</c:v>
                </c:pt>
                <c:pt idx="80">
                  <c:v>1.2467462167707817</c:v>
                </c:pt>
                <c:pt idx="81">
                  <c:v>1.2096905318285738</c:v>
                </c:pt>
                <c:pt idx="82">
                  <c:v>1.2068188878025519</c:v>
                </c:pt>
                <c:pt idx="83">
                  <c:v>1.2335502570058257</c:v>
                </c:pt>
                <c:pt idx="84">
                  <c:v>1.2107741236476035</c:v>
                </c:pt>
                <c:pt idx="85">
                  <c:v>1.1887612600237827</c:v>
                </c:pt>
                <c:pt idx="86">
                  <c:v>1.1996641106970825</c:v>
                </c:pt>
                <c:pt idx="87">
                  <c:v>1.2006080896555025</c:v>
                </c:pt>
                <c:pt idx="88">
                  <c:v>1.1953603856632113</c:v>
                </c:pt>
                <c:pt idx="89">
                  <c:v>1.1762761543948121</c:v>
                </c:pt>
                <c:pt idx="90">
                  <c:v>1.1682648653875214</c:v>
                </c:pt>
                <c:pt idx="91">
                  <c:v>1.1361566036233688</c:v>
                </c:pt>
                <c:pt idx="92">
                  <c:v>1.1544361375576062</c:v>
                </c:pt>
                <c:pt idx="93">
                  <c:v>1.1681030481865871</c:v>
                </c:pt>
                <c:pt idx="94">
                  <c:v>1.1322870565782441</c:v>
                </c:pt>
                <c:pt idx="95">
                  <c:v>1.1541562108916561</c:v>
                </c:pt>
                <c:pt idx="96">
                  <c:v>1.1878567489028202</c:v>
                </c:pt>
                <c:pt idx="97">
                  <c:v>1.1854464246883747</c:v>
                </c:pt>
                <c:pt idx="98">
                  <c:v>1.1798909189603761</c:v>
                </c:pt>
                <c:pt idx="99">
                  <c:v>1.1587571205891805</c:v>
                </c:pt>
                <c:pt idx="100">
                  <c:v>1.1926999280118906</c:v>
                </c:pt>
                <c:pt idx="101">
                  <c:v>1.1834592088131852</c:v>
                </c:pt>
                <c:pt idx="102">
                  <c:v>1.1933649001651738</c:v>
                </c:pt>
                <c:pt idx="103">
                  <c:v>1.201947970891911</c:v>
                </c:pt>
                <c:pt idx="104">
                  <c:v>1.2048282793807996</c:v>
                </c:pt>
                <c:pt idx="105">
                  <c:v>1.240062953656893</c:v>
                </c:pt>
                <c:pt idx="106">
                  <c:v>1.2245717267593981</c:v>
                </c:pt>
                <c:pt idx="107">
                  <c:v>1.2114181683030112</c:v>
                </c:pt>
                <c:pt idx="108">
                  <c:v>1.1976031618751399</c:v>
                </c:pt>
                <c:pt idx="109">
                  <c:v>1.2233493597145413</c:v>
                </c:pt>
                <c:pt idx="110">
                  <c:v>1.2306810772813948</c:v>
                </c:pt>
                <c:pt idx="111">
                  <c:v>1.2707078714730837</c:v>
                </c:pt>
                <c:pt idx="112">
                  <c:v>1.2940981000191283</c:v>
                </c:pt>
                <c:pt idx="113">
                  <c:v>1.2858609098848488</c:v>
                </c:pt>
                <c:pt idx="114">
                  <c:v>1.2396364364698449</c:v>
                </c:pt>
                <c:pt idx="115">
                  <c:v>1.2442023830118927</c:v>
                </c:pt>
                <c:pt idx="116">
                  <c:v>1.2503796412737327</c:v>
                </c:pt>
                <c:pt idx="117">
                  <c:v>1.244696707022686</c:v>
                </c:pt>
                <c:pt idx="118">
                  <c:v>1.2264306984353075</c:v>
                </c:pt>
                <c:pt idx="119">
                  <c:v>1.2403703054425543</c:v>
                </c:pt>
                <c:pt idx="120">
                  <c:v>1.2587273825796887</c:v>
                </c:pt>
                <c:pt idx="121">
                  <c:v>1.237091194559202</c:v>
                </c:pt>
                <c:pt idx="122">
                  <c:v>1.2635333628914531</c:v>
                </c:pt>
                <c:pt idx="123">
                  <c:v>1.2476736201289145</c:v>
                </c:pt>
                <c:pt idx="124">
                  <c:v>1.2440084361640444</c:v>
                </c:pt>
                <c:pt idx="125">
                  <c:v>1.2368531001690737</c:v>
                </c:pt>
                <c:pt idx="126">
                  <c:v>1.1896755679550821</c:v>
                </c:pt>
                <c:pt idx="127">
                  <c:v>1.2031995874799108</c:v>
                </c:pt>
                <c:pt idx="128">
                  <c:v>1.2070001915350266</c:v>
                </c:pt>
                <c:pt idx="129">
                  <c:v>1.1982735789011094</c:v>
                </c:pt>
                <c:pt idx="130">
                  <c:v>1.2104488636918549</c:v>
                </c:pt>
                <c:pt idx="131">
                  <c:v>1.1788460732920683</c:v>
                </c:pt>
                <c:pt idx="132">
                  <c:v>1.1739999633639238</c:v>
                </c:pt>
                <c:pt idx="133">
                  <c:v>1.1266376849361464</c:v>
                </c:pt>
                <c:pt idx="134">
                  <c:v>1.1251027193248877</c:v>
                </c:pt>
                <c:pt idx="135">
                  <c:v>1.0785937678890196</c:v>
                </c:pt>
                <c:pt idx="136">
                  <c:v>1.0422666573129147</c:v>
                </c:pt>
                <c:pt idx="137">
                  <c:v>1.0426485093158167</c:v>
                </c:pt>
                <c:pt idx="138">
                  <c:v>1.0410657277340205</c:v>
                </c:pt>
                <c:pt idx="139">
                  <c:v>1.064198724266846</c:v>
                </c:pt>
                <c:pt idx="140">
                  <c:v>1.0562466517093969</c:v>
                </c:pt>
                <c:pt idx="141">
                  <c:v>1.0896342485893717</c:v>
                </c:pt>
                <c:pt idx="142">
                  <c:v>1.0572869520261425</c:v>
                </c:pt>
                <c:pt idx="143">
                  <c:v>1.0547723598875707</c:v>
                </c:pt>
                <c:pt idx="144">
                  <c:v>1.0180201109195037</c:v>
                </c:pt>
                <c:pt idx="145">
                  <c:v>1.0377712885370394</c:v>
                </c:pt>
                <c:pt idx="146">
                  <c:v>1.0550961837620523</c:v>
                </c:pt>
                <c:pt idx="147">
                  <c:v>1.0581811337516638</c:v>
                </c:pt>
                <c:pt idx="148">
                  <c:v>1.0812395316169225</c:v>
                </c:pt>
                <c:pt idx="149">
                  <c:v>1.1385666333134055</c:v>
                </c:pt>
                <c:pt idx="150">
                  <c:v>1.1454541288459881</c:v>
                </c:pt>
                <c:pt idx="151">
                  <c:v>1.150716747187623</c:v>
                </c:pt>
                <c:pt idx="152">
                  <c:v>1.1612658091797465</c:v>
                </c:pt>
                <c:pt idx="153">
                  <c:v>1.1367128612944681</c:v>
                </c:pt>
                <c:pt idx="154">
                  <c:v>1.1234882315590189</c:v>
                </c:pt>
                <c:pt idx="155">
                  <c:v>1.1077660363984125</c:v>
                </c:pt>
                <c:pt idx="156">
                  <c:v>1.117463718109148</c:v>
                </c:pt>
                <c:pt idx="157">
                  <c:v>1.1216052244751233</c:v>
                </c:pt>
                <c:pt idx="158">
                  <c:v>1.0978778160272347</c:v>
                </c:pt>
                <c:pt idx="159">
                  <c:v>1.1273564090908779</c:v>
                </c:pt>
                <c:pt idx="160">
                  <c:v>1.1485076806330541</c:v>
                </c:pt>
                <c:pt idx="161">
                  <c:v>1.1255041403266681</c:v>
                </c:pt>
                <c:pt idx="162">
                  <c:v>1.1379407925335252</c:v>
                </c:pt>
                <c:pt idx="163">
                  <c:v>1.1312594560883225</c:v>
                </c:pt>
                <c:pt idx="164">
                  <c:v>1.1385943040641437</c:v>
                </c:pt>
                <c:pt idx="165">
                  <c:v>1.1371533975072867</c:v>
                </c:pt>
                <c:pt idx="166">
                  <c:v>1.1431207050161234</c:v>
                </c:pt>
                <c:pt idx="167">
                  <c:v>1.1462191237149604</c:v>
                </c:pt>
                <c:pt idx="168">
                  <c:v>1.1481949368043847</c:v>
                </c:pt>
                <c:pt idx="169">
                  <c:v>1.1597423703527425</c:v>
                </c:pt>
                <c:pt idx="170">
                  <c:v>1.1177442722127977</c:v>
                </c:pt>
                <c:pt idx="171">
                  <c:v>1.0982214360413136</c:v>
                </c:pt>
                <c:pt idx="172">
                  <c:v>1.0325042112439831</c:v>
                </c:pt>
                <c:pt idx="173">
                  <c:v>1.0898063357598753</c:v>
                </c:pt>
                <c:pt idx="174">
                  <c:v>1.0846103308988317</c:v>
                </c:pt>
                <c:pt idx="175">
                  <c:v>1.0794527685683579</c:v>
                </c:pt>
                <c:pt idx="176">
                  <c:v>1.1464986436036229</c:v>
                </c:pt>
                <c:pt idx="177">
                  <c:v>1.1453901058694613</c:v>
                </c:pt>
                <c:pt idx="178">
                  <c:v>1.1783609903827921</c:v>
                </c:pt>
                <c:pt idx="179">
                  <c:v>1.1770276031149924</c:v>
                </c:pt>
                <c:pt idx="180">
                  <c:v>1.1323144059749903</c:v>
                </c:pt>
                <c:pt idx="181">
                  <c:v>1.1138125940317143</c:v>
                </c:pt>
                <c:pt idx="182">
                  <c:v>1.1033039335978427</c:v>
                </c:pt>
                <c:pt idx="183">
                  <c:v>1.1257293931787815</c:v>
                </c:pt>
                <c:pt idx="184">
                  <c:v>1.1387665464491961</c:v>
                </c:pt>
                <c:pt idx="185">
                  <c:v>1.1753690795313108</c:v>
                </c:pt>
                <c:pt idx="186">
                  <c:v>1.1928738227445719</c:v>
                </c:pt>
                <c:pt idx="187">
                  <c:v>1.195996367815537</c:v>
                </c:pt>
                <c:pt idx="188">
                  <c:v>1.2113649992014475</c:v>
                </c:pt>
                <c:pt idx="189">
                  <c:v>1.2322358383403411</c:v>
                </c:pt>
                <c:pt idx="190">
                  <c:v>1.2068829485964674</c:v>
                </c:pt>
                <c:pt idx="191">
                  <c:v>1.1752939691747315</c:v>
                </c:pt>
                <c:pt idx="192">
                  <c:v>1.1706976139148006</c:v>
                </c:pt>
                <c:pt idx="193">
                  <c:v>1.1744472962261456</c:v>
                </c:pt>
                <c:pt idx="194">
                  <c:v>1.2012292091450432</c:v>
                </c:pt>
                <c:pt idx="195">
                  <c:v>1.2291184882119852</c:v>
                </c:pt>
                <c:pt idx="196">
                  <c:v>1.2597815137418042</c:v>
                </c:pt>
                <c:pt idx="197">
                  <c:v>1.2361402815614921</c:v>
                </c:pt>
                <c:pt idx="198">
                  <c:v>1.2228700596529869</c:v>
                </c:pt>
                <c:pt idx="199">
                  <c:v>1.2626690454270155</c:v>
                </c:pt>
                <c:pt idx="200">
                  <c:v>1.2864544089226635</c:v>
                </c:pt>
                <c:pt idx="201">
                  <c:v>1.2825623714108956</c:v>
                </c:pt>
                <c:pt idx="202">
                  <c:v>1.25302000773529</c:v>
                </c:pt>
                <c:pt idx="203">
                  <c:v>1.253612757687381</c:v>
                </c:pt>
                <c:pt idx="204">
                  <c:v>1.2375685492038391</c:v>
                </c:pt>
                <c:pt idx="205">
                  <c:v>1.2420975149154518</c:v>
                </c:pt>
                <c:pt idx="206">
                  <c:v>1.2712822246156268</c:v>
                </c:pt>
                <c:pt idx="207">
                  <c:v>1.2598990401606986</c:v>
                </c:pt>
                <c:pt idx="208">
                  <c:v>1.2431300246010133</c:v>
                </c:pt>
                <c:pt idx="209">
                  <c:v>1.2704804780716981</c:v>
                </c:pt>
                <c:pt idx="210">
                  <c:v>1.2370388681404971</c:v>
                </c:pt>
                <c:pt idx="211">
                  <c:v>1.245377776600985</c:v>
                </c:pt>
                <c:pt idx="212">
                  <c:v>1.2716927166542227</c:v>
                </c:pt>
                <c:pt idx="213">
                  <c:v>1.3443907362120966</c:v>
                </c:pt>
                <c:pt idx="214">
                  <c:v>1.3897641944333694</c:v>
                </c:pt>
                <c:pt idx="215">
                  <c:v>1.4445901305080588</c:v>
                </c:pt>
                <c:pt idx="216">
                  <c:v>1.4845592372930958</c:v>
                </c:pt>
                <c:pt idx="217">
                  <c:v>1.467209332646999</c:v>
                </c:pt>
                <c:pt idx="218">
                  <c:v>1.4617609795347262</c:v>
                </c:pt>
                <c:pt idx="219">
                  <c:v>1.519313653757717</c:v>
                </c:pt>
                <c:pt idx="220">
                  <c:v>1.4768858547487644</c:v>
                </c:pt>
                <c:pt idx="221">
                  <c:v>1.4809938540382013</c:v>
                </c:pt>
                <c:pt idx="222">
                  <c:v>1.4749842353814009</c:v>
                </c:pt>
                <c:pt idx="223">
                  <c:v>1.4888719840692271</c:v>
                </c:pt>
                <c:pt idx="224">
                  <c:v>1.525802450607407</c:v>
                </c:pt>
                <c:pt idx="225">
                  <c:v>1.4801683281201135</c:v>
                </c:pt>
                <c:pt idx="226">
                  <c:v>1.4725985371488399</c:v>
                </c:pt>
                <c:pt idx="227">
                  <c:v>1.4558008548672641</c:v>
                </c:pt>
                <c:pt idx="228">
                  <c:v>1.4684616337829439</c:v>
                </c:pt>
                <c:pt idx="229">
                  <c:v>1.5132750213766761</c:v>
                </c:pt>
                <c:pt idx="230">
                  <c:v>1.448787479684416</c:v>
                </c:pt>
                <c:pt idx="231">
                  <c:v>1.5026165708988386</c:v>
                </c:pt>
                <c:pt idx="232">
                  <c:v>1.5328726283105374</c:v>
                </c:pt>
                <c:pt idx="233">
                  <c:v>1.5359552384830932</c:v>
                </c:pt>
                <c:pt idx="234">
                  <c:v>1.4603167280547595</c:v>
                </c:pt>
                <c:pt idx="235">
                  <c:v>1.4622579387953041</c:v>
                </c:pt>
                <c:pt idx="236">
                  <c:v>1.4591250139901009</c:v>
                </c:pt>
                <c:pt idx="237">
                  <c:v>1.3884583390004124</c:v>
                </c:pt>
                <c:pt idx="238">
                  <c:v>1.3011858941683911</c:v>
                </c:pt>
                <c:pt idx="239">
                  <c:v>1.2681728453138383</c:v>
                </c:pt>
                <c:pt idx="240">
                  <c:v>1.2678353408912777</c:v>
                </c:pt>
                <c:pt idx="241">
                  <c:v>1.2461498555011716</c:v>
                </c:pt>
                <c:pt idx="242">
                  <c:v>1.1591075543626848</c:v>
                </c:pt>
                <c:pt idx="243">
                  <c:v>1.014536919629011</c:v>
                </c:pt>
                <c:pt idx="244">
                  <c:v>1.0307098503938557</c:v>
                </c:pt>
                <c:pt idx="245">
                  <c:v>1.0373123874934258</c:v>
                </c:pt>
                <c:pt idx="246">
                  <c:v>1.0221624768265842</c:v>
                </c:pt>
                <c:pt idx="247">
                  <c:v>1.0382320580928004</c:v>
                </c:pt>
                <c:pt idx="248">
                  <c:v>1.0194399685427116</c:v>
                </c:pt>
                <c:pt idx="249">
                  <c:v>1.0038871761137258</c:v>
                </c:pt>
                <c:pt idx="250">
                  <c:v>1.0128685974493055</c:v>
                </c:pt>
                <c:pt idx="251">
                  <c:v>1.0159323277776204</c:v>
                </c:pt>
                <c:pt idx="252">
                  <c:v>1.0265175495674155</c:v>
                </c:pt>
                <c:pt idx="253">
                  <c:v>1.0532660928585853</c:v>
                </c:pt>
                <c:pt idx="254">
                  <c:v>1.0540559655419737</c:v>
                </c:pt>
                <c:pt idx="255">
                  <c:v>1.0634369113944315</c:v>
                </c:pt>
                <c:pt idx="256">
                  <c:v>1.1756723996921288</c:v>
                </c:pt>
                <c:pt idx="257">
                  <c:v>1.2844915315499958</c:v>
                </c:pt>
                <c:pt idx="258">
                  <c:v>1.3026293508924363</c:v>
                </c:pt>
                <c:pt idx="259">
                  <c:v>1.3577032313860522</c:v>
                </c:pt>
                <c:pt idx="260">
                  <c:v>1.3598678778327287</c:v>
                </c:pt>
                <c:pt idx="261">
                  <c:v>1.4108517217075511</c:v>
                </c:pt>
                <c:pt idx="262">
                  <c:v>1.3610809271761104</c:v>
                </c:pt>
                <c:pt idx="263">
                  <c:v>1.3574038313229861</c:v>
                </c:pt>
                <c:pt idx="264">
                  <c:v>1.4360590487155638</c:v>
                </c:pt>
                <c:pt idx="265">
                  <c:v>1.431802758687434</c:v>
                </c:pt>
                <c:pt idx="266">
                  <c:v>1.5000465942584036</c:v>
                </c:pt>
                <c:pt idx="267">
                  <c:v>1.5429330398923338</c:v>
                </c:pt>
                <c:pt idx="268">
                  <c:v>1.5348565832620307</c:v>
                </c:pt>
                <c:pt idx="269">
                  <c:v>1.5849441494857941</c:v>
                </c:pt>
                <c:pt idx="270">
                  <c:v>1.5427926780069403</c:v>
                </c:pt>
                <c:pt idx="271">
                  <c:v>1.528803383351252</c:v>
                </c:pt>
                <c:pt idx="272">
                  <c:v>1.5345644193025088</c:v>
                </c:pt>
                <c:pt idx="273">
                  <c:v>1.5359392769135083</c:v>
                </c:pt>
                <c:pt idx="274">
                  <c:v>1.5146371154167089</c:v>
                </c:pt>
                <c:pt idx="275">
                  <c:v>1.4723665392172056</c:v>
                </c:pt>
                <c:pt idx="276">
                  <c:v>1.4821827844269453</c:v>
                </c:pt>
                <c:pt idx="277">
                  <c:v>1.4824149144199215</c:v>
                </c:pt>
                <c:pt idx="278">
                  <c:v>1.3850857665304199</c:v>
                </c:pt>
                <c:pt idx="279">
                  <c:v>1.3857265475252065</c:v>
                </c:pt>
                <c:pt idx="280">
                  <c:v>1.3710390063704412</c:v>
                </c:pt>
                <c:pt idx="281">
                  <c:v>1.2433096656630571</c:v>
                </c:pt>
                <c:pt idx="282">
                  <c:v>1.2815328523346183</c:v>
                </c:pt>
                <c:pt idx="283">
                  <c:v>1.1906300852909775</c:v>
                </c:pt>
                <c:pt idx="284">
                  <c:v>1.2052605125970925</c:v>
                </c:pt>
                <c:pt idx="285">
                  <c:v>1.1591800030926569</c:v>
                </c:pt>
                <c:pt idx="286">
                  <c:v>1.1463445409001662</c:v>
                </c:pt>
                <c:pt idx="287">
                  <c:v>1.1495081697221923</c:v>
                </c:pt>
                <c:pt idx="288">
                  <c:v>1.1324247464849984</c:v>
                </c:pt>
                <c:pt idx="289">
                  <c:v>1.1384556602356461</c:v>
                </c:pt>
                <c:pt idx="290">
                  <c:v>1.1419226382850798</c:v>
                </c:pt>
                <c:pt idx="291">
                  <c:v>1.2041552609498156</c:v>
                </c:pt>
                <c:pt idx="292">
                  <c:v>1.2492364119345967</c:v>
                </c:pt>
                <c:pt idx="293">
                  <c:v>1.2331540991530878</c:v>
                </c:pt>
                <c:pt idx="294">
                  <c:v>1.2322189967347434</c:v>
                </c:pt>
                <c:pt idx="295">
                  <c:v>1.2587317392510002</c:v>
                </c:pt>
                <c:pt idx="296">
                  <c:v>1.2587215736611488</c:v>
                </c:pt>
                <c:pt idx="297">
                  <c:v>1.2560937058394415</c:v>
                </c:pt>
                <c:pt idx="298">
                  <c:v>1.2877711845106306</c:v>
                </c:pt>
                <c:pt idx="299">
                  <c:v>1.3249331896323093</c:v>
                </c:pt>
                <c:pt idx="300">
                  <c:v>1.3120535492612451</c:v>
                </c:pt>
                <c:pt idx="301">
                  <c:v>1.3126293894235697</c:v>
                </c:pt>
                <c:pt idx="302">
                  <c:v>1.3173026366629419</c:v>
                </c:pt>
                <c:pt idx="303">
                  <c:v>1.3662881196169605</c:v>
                </c:pt>
                <c:pt idx="304">
                  <c:v>1.3659693474102974</c:v>
                </c:pt>
                <c:pt idx="305">
                  <c:v>1.3659693474102976</c:v>
                </c:pt>
                <c:pt idx="306">
                  <c:v>1.3344279915065209</c:v>
                </c:pt>
                <c:pt idx="307">
                  <c:v>1.3507514435918955</c:v>
                </c:pt>
                <c:pt idx="308">
                  <c:v>1.3550250563092199</c:v>
                </c:pt>
                <c:pt idx="309">
                  <c:v>1.3682784097001643</c:v>
                </c:pt>
                <c:pt idx="310">
                  <c:v>1.3286182490139524</c:v>
                </c:pt>
                <c:pt idx="311">
                  <c:v>1.3391882471446352</c:v>
                </c:pt>
                <c:pt idx="312">
                  <c:v>1.3232898885097915</c:v>
                </c:pt>
                <c:pt idx="313">
                  <c:v>1.3074069386483325</c:v>
                </c:pt>
                <c:pt idx="314">
                  <c:v>1.3203115468120239</c:v>
                </c:pt>
                <c:pt idx="315">
                  <c:v>1.3018171749478669</c:v>
                </c:pt>
                <c:pt idx="316">
                  <c:v>1.3443687410186074</c:v>
                </c:pt>
                <c:pt idx="317">
                  <c:v>1.3467929249872446</c:v>
                </c:pt>
                <c:pt idx="318">
                  <c:v>1.3581159467185344</c:v>
                </c:pt>
                <c:pt idx="319">
                  <c:v>1.358163450027001</c:v>
                </c:pt>
                <c:pt idx="320">
                  <c:v>1.3725225971071993</c:v>
                </c:pt>
                <c:pt idx="321">
                  <c:v>1.3814236072963633</c:v>
                </c:pt>
                <c:pt idx="322">
                  <c:v>1.3598703290490441</c:v>
                </c:pt>
                <c:pt idx="323">
                  <c:v>1.3440061283782443</c:v>
                </c:pt>
                <c:pt idx="324">
                  <c:v>1.3282468030800869</c:v>
                </c:pt>
                <c:pt idx="325">
                  <c:v>1.3512138708328818</c:v>
                </c:pt>
                <c:pt idx="326">
                  <c:v>1.3180484922630835</c:v>
                </c:pt>
                <c:pt idx="327">
                  <c:v>1.321226946879789</c:v>
                </c:pt>
                <c:pt idx="328">
                  <c:v>1.2902117855658048</c:v>
                </c:pt>
                <c:pt idx="329">
                  <c:v>1.2956758522016583</c:v>
                </c:pt>
                <c:pt idx="330">
                  <c:v>1.2678003981157147</c:v>
                </c:pt>
                <c:pt idx="331">
                  <c:v>1.2391818320582435</c:v>
                </c:pt>
                <c:pt idx="332">
                  <c:v>1.2616752815717012</c:v>
                </c:pt>
                <c:pt idx="333">
                  <c:v>1.2479888336969438</c:v>
                </c:pt>
                <c:pt idx="334">
                  <c:v>1.2162138500412902</c:v>
                </c:pt>
                <c:pt idx="335">
                  <c:v>1.216820552943003</c:v>
                </c:pt>
                <c:pt idx="336">
                  <c:v>1.1770804962378978</c:v>
                </c:pt>
                <c:pt idx="337">
                  <c:v>1.2073159602842118</c:v>
                </c:pt>
                <c:pt idx="338">
                  <c:v>1.1651433988076085</c:v>
                </c:pt>
                <c:pt idx="339">
                  <c:v>1.1910039137553849</c:v>
                </c:pt>
                <c:pt idx="340">
                  <c:v>1.1815503757024413</c:v>
                </c:pt>
                <c:pt idx="341">
                  <c:v>1.1980454512353886</c:v>
                </c:pt>
                <c:pt idx="342">
                  <c:v>1.2183336937174933</c:v>
                </c:pt>
                <c:pt idx="343">
                  <c:v>1.22339884387014</c:v>
                </c:pt>
                <c:pt idx="344">
                  <c:v>1.2013845954716407</c:v>
                </c:pt>
                <c:pt idx="345">
                  <c:v>1.1769511368339056</c:v>
                </c:pt>
                <c:pt idx="346">
                  <c:v>1.1623620741394862</c:v>
                </c:pt>
                <c:pt idx="347">
                  <c:v>1.0982312269995733</c:v>
                </c:pt>
                <c:pt idx="348">
                  <c:v>1.0892709409488981</c:v>
                </c:pt>
                <c:pt idx="349">
                  <c:v>1.040243147755183</c:v>
                </c:pt>
                <c:pt idx="350">
                  <c:v>1.043077332981905</c:v>
                </c:pt>
                <c:pt idx="351">
                  <c:v>1.0258401225284799</c:v>
                </c:pt>
                <c:pt idx="352">
                  <c:v>1.0195484980053404</c:v>
                </c:pt>
                <c:pt idx="353">
                  <c:v>1.0336818004183532</c:v>
                </c:pt>
                <c:pt idx="354">
                  <c:v>1.0246908791676939</c:v>
                </c:pt>
                <c:pt idx="355">
                  <c:v>1.0301677491544028</c:v>
                </c:pt>
                <c:pt idx="356">
                  <c:v>0.97340197136099027</c:v>
                </c:pt>
                <c:pt idx="357">
                  <c:v>1.0185420742361344</c:v>
                </c:pt>
                <c:pt idx="358">
                  <c:v>1.045916483435738</c:v>
                </c:pt>
                <c:pt idx="359">
                  <c:v>1.086180147041897</c:v>
                </c:pt>
                <c:pt idx="360">
                  <c:v>1.044562675379366</c:v>
                </c:pt>
                <c:pt idx="361">
                  <c:v>1.0778001290960997</c:v>
                </c:pt>
                <c:pt idx="362">
                  <c:v>1.1237674729824372</c:v>
                </c:pt>
                <c:pt idx="363">
                  <c:v>1.0904120756042897</c:v>
                </c:pt>
                <c:pt idx="364">
                  <c:v>1.1009525689782391</c:v>
                </c:pt>
                <c:pt idx="365">
                  <c:v>1.1379487298766833</c:v>
                </c:pt>
                <c:pt idx="366">
                  <c:v>1.1678177424452378</c:v>
                </c:pt>
                <c:pt idx="367">
                  <c:v>1.1625969262402276</c:v>
                </c:pt>
                <c:pt idx="368">
                  <c:v>1.1118015023578449</c:v>
                </c:pt>
                <c:pt idx="369">
                  <c:v>1.104313341850603</c:v>
                </c:pt>
                <c:pt idx="370">
                  <c:v>1.0542799611863727</c:v>
                </c:pt>
                <c:pt idx="371">
                  <c:v>1.0618348898643954</c:v>
                </c:pt>
                <c:pt idx="372">
                  <c:v>1.0543085182302678</c:v>
                </c:pt>
                <c:pt idx="373">
                  <c:v>1.0151878898080411</c:v>
                </c:pt>
                <c:pt idx="374">
                  <c:v>1.0060718886646673</c:v>
                </c:pt>
                <c:pt idx="375">
                  <c:v>0.99969920207213125</c:v>
                </c:pt>
                <c:pt idx="376">
                  <c:v>1.0303238868569227</c:v>
                </c:pt>
                <c:pt idx="377">
                  <c:v>1.022675281398155</c:v>
                </c:pt>
                <c:pt idx="378">
                  <c:v>1.0454558094259012</c:v>
                </c:pt>
                <c:pt idx="379">
                  <c:v>1.0775291329045658</c:v>
                </c:pt>
                <c:pt idx="380">
                  <c:v>1.0730917045861523</c:v>
                </c:pt>
                <c:pt idx="381">
                  <c:v>1.0574014608758426</c:v>
                </c:pt>
                <c:pt idx="382">
                  <c:v>1.0579179186404992</c:v>
                </c:pt>
                <c:pt idx="383">
                  <c:v>1.0693360416129598</c:v>
                </c:pt>
                <c:pt idx="384">
                  <c:v>1.0750943944553184</c:v>
                </c:pt>
                <c:pt idx="385">
                  <c:v>1.10295361038743</c:v>
                </c:pt>
                <c:pt idx="386">
                  <c:v>1.1044924879391342</c:v>
                </c:pt>
                <c:pt idx="387">
                  <c:v>1.1165299547190604</c:v>
                </c:pt>
                <c:pt idx="388">
                  <c:v>1.1002066277095019</c:v>
                </c:pt>
                <c:pt idx="389">
                  <c:v>1.0976719254467515</c:v>
                </c:pt>
                <c:pt idx="390">
                  <c:v>1.0976719254467515</c:v>
                </c:pt>
                <c:pt idx="391">
                  <c:v>1.0979585161679863</c:v>
                </c:pt>
                <c:pt idx="392">
                  <c:v>1.0631335302894962</c:v>
                </c:pt>
                <c:pt idx="393">
                  <c:v>1.0378658831457224</c:v>
                </c:pt>
                <c:pt idx="394">
                  <c:v>1.0236397215670625</c:v>
                </c:pt>
                <c:pt idx="395">
                  <c:v>0.98874287512895898</c:v>
                </c:pt>
                <c:pt idx="396">
                  <c:v>0.97590024609207948</c:v>
                </c:pt>
                <c:pt idx="397">
                  <c:v>0.95468094090367805</c:v>
                </c:pt>
                <c:pt idx="398">
                  <c:v>1.0189062235913169</c:v>
                </c:pt>
                <c:pt idx="399">
                  <c:v>1.0288985654886085</c:v>
                </c:pt>
                <c:pt idx="400">
                  <c:v>1.0895918146630166</c:v>
                </c:pt>
                <c:pt idx="401">
                  <c:v>1.1162449532691847</c:v>
                </c:pt>
                <c:pt idx="402">
                  <c:v>1.1089496144152935</c:v>
                </c:pt>
                <c:pt idx="403">
                  <c:v>1.1081028056804973</c:v>
                </c:pt>
                <c:pt idx="404">
                  <c:v>1.1509834037460855</c:v>
                </c:pt>
                <c:pt idx="405">
                  <c:v>1.1506754444649558</c:v>
                </c:pt>
                <c:pt idx="406">
                  <c:v>1.163995806074549</c:v>
                </c:pt>
                <c:pt idx="407">
                  <c:v>1.1506396538027122</c:v>
                </c:pt>
                <c:pt idx="408">
                  <c:v>1.1407799633282407</c:v>
                </c:pt>
                <c:pt idx="409">
                  <c:v>1.119367332829778</c:v>
                </c:pt>
                <c:pt idx="410">
                  <c:v>1.0901733116630425</c:v>
                </c:pt>
                <c:pt idx="411">
                  <c:v>1.0895651692599739</c:v>
                </c:pt>
                <c:pt idx="412">
                  <c:v>1.1206438241676795</c:v>
                </c:pt>
                <c:pt idx="413">
                  <c:v>1.1159448477527041</c:v>
                </c:pt>
                <c:pt idx="414">
                  <c:v>1.1618309613690359</c:v>
                </c:pt>
                <c:pt idx="415">
                  <c:v>1.134623996266263</c:v>
                </c:pt>
                <c:pt idx="416">
                  <c:v>1.1201871003475024</c:v>
                </c:pt>
                <c:pt idx="417">
                  <c:v>1.1183472828961891</c:v>
                </c:pt>
                <c:pt idx="418">
                  <c:v>1.0972969721826855</c:v>
                </c:pt>
                <c:pt idx="419">
                  <c:v>1.1388485035238418</c:v>
                </c:pt>
                <c:pt idx="420">
                  <c:v>1.1674730546497991</c:v>
                </c:pt>
                <c:pt idx="421">
                  <c:v>1.1826478402206186</c:v>
                </c:pt>
                <c:pt idx="422">
                  <c:v>1.1709952572376703</c:v>
                </c:pt>
                <c:pt idx="423">
                  <c:v>1.2055282159990663</c:v>
                </c:pt>
                <c:pt idx="424">
                  <c:v>1.203654649859764</c:v>
                </c:pt>
                <c:pt idx="425">
                  <c:v>1.2041923184379417</c:v>
                </c:pt>
                <c:pt idx="426">
                  <c:v>1.2017474731603603</c:v>
                </c:pt>
                <c:pt idx="427">
                  <c:v>1.2097645732044906</c:v>
                </c:pt>
                <c:pt idx="428">
                  <c:v>1.2508389442754517</c:v>
                </c:pt>
                <c:pt idx="429">
                  <c:v>1.215587560926636</c:v>
                </c:pt>
                <c:pt idx="430">
                  <c:v>1.2299914327877171</c:v>
                </c:pt>
                <c:pt idx="431">
                  <c:v>1.2125124542093997</c:v>
                </c:pt>
                <c:pt idx="432">
                  <c:v>1.2042058910157298</c:v>
                </c:pt>
                <c:pt idx="433">
                  <c:v>1.2000831512409766</c:v>
                </c:pt>
                <c:pt idx="434">
                  <c:v>1.1993024854526491</c:v>
                </c:pt>
                <c:pt idx="435">
                  <c:v>1.1635575776725184</c:v>
                </c:pt>
                <c:pt idx="436">
                  <c:v>1.1936727456283456</c:v>
                </c:pt>
                <c:pt idx="437">
                  <c:v>1.1846896059160774</c:v>
                </c:pt>
                <c:pt idx="438">
                  <c:v>1.1860668714941471</c:v>
                </c:pt>
                <c:pt idx="439">
                  <c:v>1.2135385918785169</c:v>
                </c:pt>
                <c:pt idx="440">
                  <c:v>1.2081565981243481</c:v>
                </c:pt>
                <c:pt idx="441">
                  <c:v>1.2228475493831019</c:v>
                </c:pt>
                <c:pt idx="442">
                  <c:v>1.2231829622504493</c:v>
                </c:pt>
                <c:pt idx="443">
                  <c:v>1.2249510852643555</c:v>
                </c:pt>
                <c:pt idx="444">
                  <c:v>1.2631585262213099</c:v>
                </c:pt>
                <c:pt idx="445">
                  <c:v>1.2123678067833754</c:v>
                </c:pt>
                <c:pt idx="446">
                  <c:v>1.2215723166195209</c:v>
                </c:pt>
                <c:pt idx="447">
                  <c:v>1.2048285471207054</c:v>
                </c:pt>
                <c:pt idx="448">
                  <c:v>1.1970029778710907</c:v>
                </c:pt>
                <c:pt idx="449">
                  <c:v>1.1881573336315212</c:v>
                </c:pt>
                <c:pt idx="450">
                  <c:v>1.1732152311040902</c:v>
                </c:pt>
                <c:pt idx="451">
                  <c:v>1.1552025377507642</c:v>
                </c:pt>
                <c:pt idx="452">
                  <c:v>1.1350005447395786</c:v>
                </c:pt>
                <c:pt idx="453">
                  <c:v>1.1388681421311646</c:v>
                </c:pt>
                <c:pt idx="454">
                  <c:v>1.0846425505048158</c:v>
                </c:pt>
                <c:pt idx="455">
                  <c:v>1.1327357690920887</c:v>
                </c:pt>
                <c:pt idx="456">
                  <c:v>1.1418021974337402</c:v>
                </c:pt>
                <c:pt idx="457">
                  <c:v>1.1775761509973999</c:v>
                </c:pt>
                <c:pt idx="458">
                  <c:v>1.1937076063518934</c:v>
                </c:pt>
                <c:pt idx="459">
                  <c:v>1.1616502906853954</c:v>
                </c:pt>
                <c:pt idx="460">
                  <c:v>1.1618576153210733</c:v>
                </c:pt>
                <c:pt idx="461">
                  <c:v>1.1615664247643294</c:v>
                </c:pt>
                <c:pt idx="462">
                  <c:v>1.1397273773247956</c:v>
                </c:pt>
                <c:pt idx="463">
                  <c:v>1.1598448172061644</c:v>
                </c:pt>
                <c:pt idx="464">
                  <c:v>1.1678571499034658</c:v>
                </c:pt>
                <c:pt idx="465">
                  <c:v>1.2174600741946588</c:v>
                </c:pt>
                <c:pt idx="466">
                  <c:v>1.2440682483093979</c:v>
                </c:pt>
                <c:pt idx="467">
                  <c:v>1.2342088145242942</c:v>
                </c:pt>
                <c:pt idx="468">
                  <c:v>1.2333201103621301</c:v>
                </c:pt>
                <c:pt idx="469">
                  <c:v>1.2417779483942695</c:v>
                </c:pt>
                <c:pt idx="470">
                  <c:v>1.2544713147656641</c:v>
                </c:pt>
                <c:pt idx="471">
                  <c:v>1.2648978878418082</c:v>
                </c:pt>
                <c:pt idx="472">
                  <c:v>1.2471563353209507</c:v>
                </c:pt>
                <c:pt idx="473">
                  <c:v>1.2517420978659677</c:v>
                </c:pt>
                <c:pt idx="474">
                  <c:v>1.2256585677631366</c:v>
                </c:pt>
                <c:pt idx="475">
                  <c:v>1.1995602240749719</c:v>
                </c:pt>
                <c:pt idx="476">
                  <c:v>1.2045582780261366</c:v>
                </c:pt>
                <c:pt idx="477">
                  <c:v>1.1926405149287287</c:v>
                </c:pt>
                <c:pt idx="478">
                  <c:v>1.1922693640948514</c:v>
                </c:pt>
                <c:pt idx="479">
                  <c:v>1.2002652036694998</c:v>
                </c:pt>
                <c:pt idx="480">
                  <c:v>1.1935030215150662</c:v>
                </c:pt>
                <c:pt idx="481">
                  <c:v>1.171946730779581</c:v>
                </c:pt>
                <c:pt idx="482">
                  <c:v>1.1243956560738977</c:v>
                </c:pt>
                <c:pt idx="483">
                  <c:v>1.1140283388607974</c:v>
                </c:pt>
                <c:pt idx="484">
                  <c:v>1.0918027904953047</c:v>
                </c:pt>
                <c:pt idx="485">
                  <c:v>1.0763893247773431</c:v>
                </c:pt>
                <c:pt idx="486">
                  <c:v>1.0654933735280847</c:v>
                </c:pt>
                <c:pt idx="487">
                  <c:v>1.0283698343149863</c:v>
                </c:pt>
                <c:pt idx="488">
                  <c:v>1.0169824646144756</c:v>
                </c:pt>
                <c:pt idx="489">
                  <c:v>1.0389922743873312</c:v>
                </c:pt>
                <c:pt idx="490">
                  <c:v>1.0555767928442716</c:v>
                </c:pt>
                <c:pt idx="491">
                  <c:v>1.0734185166224577</c:v>
                </c:pt>
                <c:pt idx="492">
                  <c:v>1.0845843562427275</c:v>
                </c:pt>
                <c:pt idx="493">
                  <c:v>1.0725478659394099</c:v>
                </c:pt>
                <c:pt idx="494">
                  <c:v>1.0105302557813209</c:v>
                </c:pt>
                <c:pt idx="495">
                  <c:v>1.0147046818645558</c:v>
                </c:pt>
                <c:pt idx="496">
                  <c:v>0.9729095041296526</c:v>
                </c:pt>
                <c:pt idx="497">
                  <c:v>0.95481192203051846</c:v>
                </c:pt>
                <c:pt idx="498">
                  <c:v>0.9341784959875663</c:v>
                </c:pt>
                <c:pt idx="499">
                  <c:v>0.92854539961155647</c:v>
                </c:pt>
                <c:pt idx="500">
                  <c:v>0.90621082785195661</c:v>
                </c:pt>
                <c:pt idx="501">
                  <c:v>0.89884681197512684</c:v>
                </c:pt>
                <c:pt idx="502">
                  <c:v>0.8998162297446225</c:v>
                </c:pt>
                <c:pt idx="503">
                  <c:v>0.94494922205273213</c:v>
                </c:pt>
                <c:pt idx="504">
                  <c:v>0.99462815227114987</c:v>
                </c:pt>
                <c:pt idx="505">
                  <c:v>0.99495652901202414</c:v>
                </c:pt>
                <c:pt idx="506">
                  <c:v>1.0219616389071795</c:v>
                </c:pt>
                <c:pt idx="507">
                  <c:v>1.0206213582858465</c:v>
                </c:pt>
                <c:pt idx="508">
                  <c:v>1.0489073680104766</c:v>
                </c:pt>
                <c:pt idx="509">
                  <c:v>1.0800699897671902</c:v>
                </c:pt>
                <c:pt idx="510">
                  <c:v>1.1390659255704638</c:v>
                </c:pt>
                <c:pt idx="511">
                  <c:v>1.1753766726376034</c:v>
                </c:pt>
                <c:pt idx="512">
                  <c:v>1.1811652711832756</c:v>
                </c:pt>
                <c:pt idx="513">
                  <c:v>1.1841323669107224</c:v>
                </c:pt>
                <c:pt idx="514">
                  <c:v>1.1755409644669059</c:v>
                </c:pt>
                <c:pt idx="515">
                  <c:v>1.171101585999772</c:v>
                </c:pt>
                <c:pt idx="516">
                  <c:v>1.1822854666835678</c:v>
                </c:pt>
                <c:pt idx="517">
                  <c:v>1.2036724271278945</c:v>
                </c:pt>
                <c:pt idx="518">
                  <c:v>1.1770411235176161</c:v>
                </c:pt>
                <c:pt idx="519">
                  <c:v>1.2035931867287153</c:v>
                </c:pt>
                <c:pt idx="520">
                  <c:v>1.1934084195756194</c:v>
                </c:pt>
                <c:pt idx="521">
                  <c:v>1.1598372151260699</c:v>
                </c:pt>
                <c:pt idx="522">
                  <c:v>1.1381497907729714</c:v>
                </c:pt>
                <c:pt idx="523">
                  <c:v>1.1287674313065972</c:v>
                </c:pt>
                <c:pt idx="524">
                  <c:v>1.1670668130987869</c:v>
                </c:pt>
                <c:pt idx="525">
                  <c:v>1.1661071161997134</c:v>
                </c:pt>
                <c:pt idx="526">
                  <c:v>1.1550883222758612</c:v>
                </c:pt>
                <c:pt idx="527">
                  <c:v>1.1621527114502561</c:v>
                </c:pt>
                <c:pt idx="528">
                  <c:v>1.1513378846937952</c:v>
                </c:pt>
                <c:pt idx="529">
                  <c:v>1.1197639920311164</c:v>
                </c:pt>
                <c:pt idx="530">
                  <c:v>1.1540928570009628</c:v>
                </c:pt>
                <c:pt idx="531">
                  <c:v>1.1454521575174104</c:v>
                </c:pt>
                <c:pt idx="532">
                  <c:v>1.1384026726783849</c:v>
                </c:pt>
                <c:pt idx="533">
                  <c:v>1.1141208019287328</c:v>
                </c:pt>
                <c:pt idx="534">
                  <c:v>1.0490674814544396</c:v>
                </c:pt>
                <c:pt idx="535">
                  <c:v>1.0428372175778882</c:v>
                </c:pt>
                <c:pt idx="536">
                  <c:v>1.049852524205493</c:v>
                </c:pt>
                <c:pt idx="537">
                  <c:v>1.1093191751060938</c:v>
                </c:pt>
                <c:pt idx="538">
                  <c:v>1.1709222539226007</c:v>
                </c:pt>
                <c:pt idx="539">
                  <c:v>1.1173509378344704</c:v>
                </c:pt>
                <c:pt idx="540">
                  <c:v>1.1128305477281746</c:v>
                </c:pt>
                <c:pt idx="541">
                  <c:v>1.1592799025572378</c:v>
                </c:pt>
                <c:pt idx="542">
                  <c:v>1.1727719209183958</c:v>
                </c:pt>
                <c:pt idx="543">
                  <c:v>1.1960456351203004</c:v>
                </c:pt>
                <c:pt idx="544">
                  <c:v>1.2454877698902695</c:v>
                </c:pt>
                <c:pt idx="545">
                  <c:v>1.2459958231863582</c:v>
                </c:pt>
                <c:pt idx="546">
                  <c:v>1.2640726976508263</c:v>
                </c:pt>
                <c:pt idx="547">
                  <c:v>1.2640726976508263</c:v>
                </c:pt>
                <c:pt idx="548">
                  <c:v>1.2403031193853338</c:v>
                </c:pt>
                <c:pt idx="549">
                  <c:v>1.2527502647401243</c:v>
                </c:pt>
                <c:pt idx="550">
                  <c:v>1.2381297029351663</c:v>
                </c:pt>
                <c:pt idx="551">
                  <c:v>1.2333604763069594</c:v>
                </c:pt>
                <c:pt idx="552">
                  <c:v>1.2345551634547984</c:v>
                </c:pt>
                <c:pt idx="553">
                  <c:v>1.2301527136598656</c:v>
                </c:pt>
                <c:pt idx="554">
                  <c:v>1.2596070389105953</c:v>
                </c:pt>
                <c:pt idx="555">
                  <c:v>1.2415924564674954</c:v>
                </c:pt>
                <c:pt idx="556">
                  <c:v>1.2742694301619109</c:v>
                </c:pt>
                <c:pt idx="557">
                  <c:v>1.2774680939979659</c:v>
                </c:pt>
                <c:pt idx="558">
                  <c:v>1.2593772996190216</c:v>
                </c:pt>
                <c:pt idx="559">
                  <c:v>1.2994188941082823</c:v>
                </c:pt>
                <c:pt idx="560">
                  <c:v>1.3024664773924826</c:v>
                </c:pt>
                <c:pt idx="561">
                  <c:v>1.2992613286017558</c:v>
                </c:pt>
                <c:pt idx="562">
                  <c:v>1.359066093006992</c:v>
                </c:pt>
                <c:pt idx="563">
                  <c:v>1.383191261003383</c:v>
                </c:pt>
                <c:pt idx="564">
                  <c:v>1.376186408978836</c:v>
                </c:pt>
                <c:pt idx="565">
                  <c:v>1.3423647886496619</c:v>
                </c:pt>
                <c:pt idx="566">
                  <c:v>1.3449009237202776</c:v>
                </c:pt>
                <c:pt idx="567">
                  <c:v>1.3253822333636924</c:v>
                </c:pt>
                <c:pt idx="568">
                  <c:v>1.324585956814146</c:v>
                </c:pt>
                <c:pt idx="569">
                  <c:v>1.2913454682150587</c:v>
                </c:pt>
                <c:pt idx="570">
                  <c:v>1.2819070974339806</c:v>
                </c:pt>
                <c:pt idx="571">
                  <c:v>1.3030501026025334</c:v>
                </c:pt>
                <c:pt idx="572">
                  <c:v>1.265218158756549</c:v>
                </c:pt>
                <c:pt idx="573">
                  <c:v>1.2847423071180173</c:v>
                </c:pt>
                <c:pt idx="574">
                  <c:v>1.3039411722333039</c:v>
                </c:pt>
                <c:pt idx="575">
                  <c:v>1.2768024577549315</c:v>
                </c:pt>
                <c:pt idx="576">
                  <c:v>1.2789896886433116</c:v>
                </c:pt>
                <c:pt idx="577">
                  <c:v>1.275458087642763</c:v>
                </c:pt>
                <c:pt idx="578">
                  <c:v>1.2481836265515576</c:v>
                </c:pt>
                <c:pt idx="579">
                  <c:v>1.2492717018111941</c:v>
                </c:pt>
                <c:pt idx="580">
                  <c:v>1.2503990760802592</c:v>
                </c:pt>
                <c:pt idx="581">
                  <c:v>1.2314124244702853</c:v>
                </c:pt>
                <c:pt idx="582">
                  <c:v>1.2369068253606077</c:v>
                </c:pt>
                <c:pt idx="583">
                  <c:v>1.239053922820115</c:v>
                </c:pt>
                <c:pt idx="584">
                  <c:v>1.2552513349837535</c:v>
                </c:pt>
                <c:pt idx="585">
                  <c:v>1.2089333252691141</c:v>
                </c:pt>
                <c:pt idx="586">
                  <c:v>1.1988115082272384</c:v>
                </c:pt>
                <c:pt idx="587">
                  <c:v>1.1392892521216906</c:v>
                </c:pt>
                <c:pt idx="588">
                  <c:v>1.1248305009706929</c:v>
                </c:pt>
                <c:pt idx="589">
                  <c:v>1.1399527437856873</c:v>
                </c:pt>
                <c:pt idx="590">
                  <c:v>1.1186569328142271</c:v>
                </c:pt>
                <c:pt idx="591">
                  <c:v>1.0546589929440937</c:v>
                </c:pt>
                <c:pt idx="592">
                  <c:v>0.98968290783690738</c:v>
                </c:pt>
                <c:pt idx="593">
                  <c:v>0.95064381127422237</c:v>
                </c:pt>
                <c:pt idx="594">
                  <c:v>0.94939879108630088</c:v>
                </c:pt>
                <c:pt idx="595">
                  <c:v>1.0045792999522107</c:v>
                </c:pt>
                <c:pt idx="596">
                  <c:v>1.0568155656428171</c:v>
                </c:pt>
                <c:pt idx="597">
                  <c:v>1.1033324887109786</c:v>
                </c:pt>
                <c:pt idx="598">
                  <c:v>1.1331463476362136</c:v>
                </c:pt>
                <c:pt idx="599">
                  <c:v>1.097827767207413</c:v>
                </c:pt>
                <c:pt idx="600">
                  <c:v>1.1300824977022268</c:v>
                </c:pt>
                <c:pt idx="601">
                  <c:v>1.1251787910496525</c:v>
                </c:pt>
                <c:pt idx="602">
                  <c:v>1.1293100948466637</c:v>
                </c:pt>
                <c:pt idx="603">
                  <c:v>1.1620017026619398</c:v>
                </c:pt>
                <c:pt idx="604">
                  <c:v>1.192109271891227</c:v>
                </c:pt>
                <c:pt idx="605">
                  <c:v>1.2230690289032606</c:v>
                </c:pt>
                <c:pt idx="606">
                  <c:v>1.2326603801953013</c:v>
                </c:pt>
                <c:pt idx="607">
                  <c:v>1.2226254141092461</c:v>
                </c:pt>
                <c:pt idx="608">
                  <c:v>1.2598317006562796</c:v>
                </c:pt>
                <c:pt idx="609">
                  <c:v>1.3032214840767238</c:v>
                </c:pt>
                <c:pt idx="610">
                  <c:v>1.2938102435197201</c:v>
                </c:pt>
                <c:pt idx="611">
                  <c:v>1.246914816312559</c:v>
                </c:pt>
                <c:pt idx="612">
                  <c:v>1.2496292783595184</c:v>
                </c:pt>
                <c:pt idx="613">
                  <c:v>1.2352666335305815</c:v>
                </c:pt>
                <c:pt idx="614">
                  <c:v>1.2482332460558554</c:v>
                </c:pt>
                <c:pt idx="615">
                  <c:v>1.1728305068719267</c:v>
                </c:pt>
                <c:pt idx="616">
                  <c:v>1.1502688792728657</c:v>
                </c:pt>
                <c:pt idx="617">
                  <c:v>1.1412747070662899</c:v>
                </c:pt>
                <c:pt idx="618">
                  <c:v>1.1271509425590818</c:v>
                </c:pt>
                <c:pt idx="619">
                  <c:v>1.0150415002904203</c:v>
                </c:pt>
                <c:pt idx="620">
                  <c:v>1.0353853368185797</c:v>
                </c:pt>
                <c:pt idx="621">
                  <c:v>1.0556622545582106</c:v>
                </c:pt>
                <c:pt idx="622">
                  <c:v>1.0103807437356607</c:v>
                </c:pt>
                <c:pt idx="623">
                  <c:v>0.99767008143867286</c:v>
                </c:pt>
                <c:pt idx="624">
                  <c:v>0.92330518958699603</c:v>
                </c:pt>
                <c:pt idx="625">
                  <c:v>0.92108538125946371</c:v>
                </c:pt>
                <c:pt idx="626">
                  <c:v>0.92094061312509456</c:v>
                </c:pt>
                <c:pt idx="627">
                  <c:v>0.92068371041506702</c:v>
                </c:pt>
                <c:pt idx="628">
                  <c:v>0.92489906453076909</c:v>
                </c:pt>
                <c:pt idx="629">
                  <c:v>0.96078126811532361</c:v>
                </c:pt>
                <c:pt idx="630">
                  <c:v>0.95751930832043819</c:v>
                </c:pt>
                <c:pt idx="631">
                  <c:v>0.81406942717317665</c:v>
                </c:pt>
                <c:pt idx="632">
                  <c:v>0.75183817750982174</c:v>
                </c:pt>
                <c:pt idx="633">
                  <c:v>0.80451949193492234</c:v>
                </c:pt>
                <c:pt idx="634">
                  <c:v>0.8046654283693957</c:v>
                </c:pt>
                <c:pt idx="635">
                  <c:v>0.79058981657020866</c:v>
                </c:pt>
                <c:pt idx="636">
                  <c:v>0.76073210352484344</c:v>
                </c:pt>
                <c:pt idx="637">
                  <c:v>0.80064718445673355</c:v>
                </c:pt>
                <c:pt idx="638">
                  <c:v>0.80891923118482312</c:v>
                </c:pt>
                <c:pt idx="639">
                  <c:v>0.81335505876148795</c:v>
                </c:pt>
                <c:pt idx="640">
                  <c:v>0.81267208268679625</c:v>
                </c:pt>
                <c:pt idx="641">
                  <c:v>0.83164805935182495</c:v>
                </c:pt>
                <c:pt idx="642">
                  <c:v>0.8598485738154561</c:v>
                </c:pt>
                <c:pt idx="643">
                  <c:v>0.87089176888881004</c:v>
                </c:pt>
                <c:pt idx="644">
                  <c:v>0.86416334079263823</c:v>
                </c:pt>
                <c:pt idx="645">
                  <c:v>1.0077780306891917</c:v>
                </c:pt>
                <c:pt idx="646">
                  <c:v>1.155824985821583</c:v>
                </c:pt>
                <c:pt idx="647">
                  <c:v>1.168377332627542</c:v>
                </c:pt>
                <c:pt idx="648">
                  <c:v>1.1571991585172876</c:v>
                </c:pt>
                <c:pt idx="649">
                  <c:v>1.2080694632168256</c:v>
                </c:pt>
                <c:pt idx="650">
                  <c:v>1.2347546010164052</c:v>
                </c:pt>
                <c:pt idx="651">
                  <c:v>1.3192648653497279</c:v>
                </c:pt>
                <c:pt idx="652">
                  <c:v>1.2835604044329025</c:v>
                </c:pt>
                <c:pt idx="653">
                  <c:v>1.2879644688881284</c:v>
                </c:pt>
                <c:pt idx="654">
                  <c:v>1.2940198266749843</c:v>
                </c:pt>
                <c:pt idx="655">
                  <c:v>1.3691493316921708</c:v>
                </c:pt>
                <c:pt idx="656">
                  <c:v>1.3707486377731652</c:v>
                </c:pt>
                <c:pt idx="657">
                  <c:v>1.364416532118502</c:v>
                </c:pt>
                <c:pt idx="658">
                  <c:v>1.3796182267616297</c:v>
                </c:pt>
                <c:pt idx="659">
                  <c:v>1.3871669899707517</c:v>
                </c:pt>
                <c:pt idx="660">
                  <c:v>1.3658130037784535</c:v>
                </c:pt>
                <c:pt idx="661">
                  <c:v>1.3316849218876048</c:v>
                </c:pt>
                <c:pt idx="662">
                  <c:v>1.2565115559844966</c:v>
                </c:pt>
                <c:pt idx="663">
                  <c:v>1.3105632869237023</c:v>
                </c:pt>
                <c:pt idx="664">
                  <c:v>1.3187283708668109</c:v>
                </c:pt>
                <c:pt idx="665">
                  <c:v>1.3245325407904869</c:v>
                </c:pt>
                <c:pt idx="666">
                  <c:v>1.3484576613732182</c:v>
                </c:pt>
                <c:pt idx="667">
                  <c:v>1.3683882678585428</c:v>
                </c:pt>
                <c:pt idx="668">
                  <c:v>1.420742044492683</c:v>
                </c:pt>
                <c:pt idx="669">
                  <c:v>1.3780019039579838</c:v>
                </c:pt>
                <c:pt idx="670">
                  <c:v>1.3953553522811977</c:v>
                </c:pt>
                <c:pt idx="671">
                  <c:v>1.34512636812924</c:v>
                </c:pt>
                <c:pt idx="672">
                  <c:v>1.2713052305592516</c:v>
                </c:pt>
                <c:pt idx="673">
                  <c:v>1.3078857600304095</c:v>
                </c:pt>
                <c:pt idx="674">
                  <c:v>1.3159249578238326</c:v>
                </c:pt>
                <c:pt idx="675">
                  <c:v>1.3367796321556653</c:v>
                </c:pt>
                <c:pt idx="676">
                  <c:v>1.3308345671650137</c:v>
                </c:pt>
                <c:pt idx="677">
                  <c:v>1.2974999948204775</c:v>
                </c:pt>
                <c:pt idx="678">
                  <c:v>1.3000383782589788</c:v>
                </c:pt>
                <c:pt idx="679">
                  <c:v>1.3138029835442948</c:v>
                </c:pt>
                <c:pt idx="680">
                  <c:v>1.3242024988892427</c:v>
                </c:pt>
                <c:pt idx="681">
                  <c:v>1.3292673218368172</c:v>
                </c:pt>
                <c:pt idx="682">
                  <c:v>1.2835619123344608</c:v>
                </c:pt>
                <c:pt idx="683">
                  <c:v>1.2914587900709846</c:v>
                </c:pt>
                <c:pt idx="684">
                  <c:v>1.2919847197738177</c:v>
                </c:pt>
                <c:pt idx="685">
                  <c:v>1.3346929089833064</c:v>
                </c:pt>
                <c:pt idx="686">
                  <c:v>1.2980218199865863</c:v>
                </c:pt>
                <c:pt idx="687">
                  <c:v>1.280346223336837</c:v>
                </c:pt>
                <c:pt idx="688">
                  <c:v>1.278242829505722</c:v>
                </c:pt>
                <c:pt idx="689">
                  <c:v>1.2428223170783328</c:v>
                </c:pt>
                <c:pt idx="690">
                  <c:v>1.2737319648495786</c:v>
                </c:pt>
                <c:pt idx="691">
                  <c:v>1.3056766053849096</c:v>
                </c:pt>
                <c:pt idx="692">
                  <c:v>1.3408275409699992</c:v>
                </c:pt>
                <c:pt idx="693">
                  <c:v>1.334700320759892</c:v>
                </c:pt>
                <c:pt idx="694">
                  <c:v>1.314757101733677</c:v>
                </c:pt>
                <c:pt idx="695">
                  <c:v>1.2948730165665889</c:v>
                </c:pt>
                <c:pt idx="696">
                  <c:v>1.3183473688471621</c:v>
                </c:pt>
                <c:pt idx="697">
                  <c:v>1.284733937561618</c:v>
                </c:pt>
                <c:pt idx="698">
                  <c:v>1.2850665017727658</c:v>
                </c:pt>
                <c:pt idx="699">
                  <c:v>1.2412919908110307</c:v>
                </c:pt>
                <c:pt idx="700">
                  <c:v>1.1968167456133978</c:v>
                </c:pt>
                <c:pt idx="701">
                  <c:v>1.1894297901963153</c:v>
                </c:pt>
                <c:pt idx="702">
                  <c:v>1.1751436425582877</c:v>
                </c:pt>
                <c:pt idx="703">
                  <c:v>1.1306322334480952</c:v>
                </c:pt>
                <c:pt idx="704">
                  <c:v>1.1185427347501595</c:v>
                </c:pt>
                <c:pt idx="705">
                  <c:v>1.0882251506442149</c:v>
                </c:pt>
                <c:pt idx="706">
                  <c:v>1.0527596096445404</c:v>
                </c:pt>
                <c:pt idx="707">
                  <c:v>1.0643111760993087</c:v>
                </c:pt>
                <c:pt idx="708">
                  <c:v>1.0587866864065814</c:v>
                </c:pt>
                <c:pt idx="709">
                  <c:v>1.0854294031613998</c:v>
                </c:pt>
                <c:pt idx="710">
                  <c:v>1.0480899165235209</c:v>
                </c:pt>
                <c:pt idx="711">
                  <c:v>1.0269741544841795</c:v>
                </c:pt>
                <c:pt idx="712">
                  <c:v>1.0262511378066594</c:v>
                </c:pt>
                <c:pt idx="713">
                  <c:v>1.0246782867797339</c:v>
                </c:pt>
                <c:pt idx="714">
                  <c:v>1.0385463372539798</c:v>
                </c:pt>
                <c:pt idx="715">
                  <c:v>1.0940603077478173</c:v>
                </c:pt>
                <c:pt idx="716">
                  <c:v>1.0480565732083182</c:v>
                </c:pt>
                <c:pt idx="717">
                  <c:v>1.0469978587031752</c:v>
                </c:pt>
                <c:pt idx="718">
                  <c:v>1.0432941007430088</c:v>
                </c:pt>
                <c:pt idx="719">
                  <c:v>1.0462963868007285</c:v>
                </c:pt>
                <c:pt idx="720">
                  <c:v>1.0765155857913133</c:v>
                </c:pt>
                <c:pt idx="721">
                  <c:v>1.0927391842206375</c:v>
                </c:pt>
                <c:pt idx="722">
                  <c:v>1.0629995094021676</c:v>
                </c:pt>
                <c:pt idx="723">
                  <c:v>1.0512040203847777</c:v>
                </c:pt>
                <c:pt idx="724">
                  <c:v>1.0927120251431641</c:v>
                </c:pt>
                <c:pt idx="725">
                  <c:v>1.0896538860564171</c:v>
                </c:pt>
                <c:pt idx="726">
                  <c:v>1.1546195202572755</c:v>
                </c:pt>
                <c:pt idx="727">
                  <c:v>1.1595499683205808</c:v>
                </c:pt>
                <c:pt idx="728">
                  <c:v>1.1573157671725716</c:v>
                </c:pt>
                <c:pt idx="729">
                  <c:v>1.1783315158690801</c:v>
                </c:pt>
                <c:pt idx="730">
                  <c:v>1.1808485194157856</c:v>
                </c:pt>
                <c:pt idx="731">
                  <c:v>1.2473182415482131</c:v>
                </c:pt>
                <c:pt idx="732">
                  <c:v>1.2628550176876701</c:v>
                </c:pt>
                <c:pt idx="733">
                  <c:v>1.261233224789067</c:v>
                </c:pt>
                <c:pt idx="734">
                  <c:v>1.2578915624153379</c:v>
                </c:pt>
                <c:pt idx="735">
                  <c:v>1.2625719611132067</c:v>
                </c:pt>
                <c:pt idx="736">
                  <c:v>1.265348691795253</c:v>
                </c:pt>
                <c:pt idx="737">
                  <c:v>1.2746505319085011</c:v>
                </c:pt>
                <c:pt idx="738">
                  <c:v>1.2639461163143932</c:v>
                </c:pt>
                <c:pt idx="739">
                  <c:v>1.2635877407187142</c:v>
                </c:pt>
                <c:pt idx="740">
                  <c:v>1.250543193804154</c:v>
                </c:pt>
                <c:pt idx="741">
                  <c:v>1.2668342560327557</c:v>
                </c:pt>
                <c:pt idx="742">
                  <c:v>1.2930789296402485</c:v>
                </c:pt>
                <c:pt idx="743">
                  <c:v>1.2933790868749939</c:v>
                </c:pt>
                <c:pt idx="744">
                  <c:v>1.2987525031799285</c:v>
                </c:pt>
                <c:pt idx="745">
                  <c:v>1.2769217859022648</c:v>
                </c:pt>
                <c:pt idx="746">
                  <c:v>1.2185392277076541</c:v>
                </c:pt>
                <c:pt idx="747">
                  <c:v>1.2658665271331451</c:v>
                </c:pt>
                <c:pt idx="748">
                  <c:v>1.2633905567656949</c:v>
                </c:pt>
                <c:pt idx="749">
                  <c:v>1.2754994804903621</c:v>
                </c:pt>
                <c:pt idx="750">
                  <c:v>1.2759435050020786</c:v>
                </c:pt>
                <c:pt idx="751">
                  <c:v>1.2404105286435991</c:v>
                </c:pt>
                <c:pt idx="752">
                  <c:v>1.2096258196880203</c:v>
                </c:pt>
                <c:pt idx="753">
                  <c:v>1.1991354412457393</c:v>
                </c:pt>
                <c:pt idx="754">
                  <c:v>1.1655127626928847</c:v>
                </c:pt>
                <c:pt idx="755">
                  <c:v>1.1651443216711743</c:v>
                </c:pt>
                <c:pt idx="756">
                  <c:v>1.1317756531363705</c:v>
                </c:pt>
                <c:pt idx="757">
                  <c:v>1.117099546973976</c:v>
                </c:pt>
                <c:pt idx="758">
                  <c:v>1.0982496337647996</c:v>
                </c:pt>
                <c:pt idx="759">
                  <c:v>1.1233179540123319</c:v>
                </c:pt>
                <c:pt idx="760">
                  <c:v>1.0782868730746753</c:v>
                </c:pt>
                <c:pt idx="761">
                  <c:v>1.0427615321362913</c:v>
                </c:pt>
                <c:pt idx="762">
                  <c:v>0.97485372489734901</c:v>
                </c:pt>
                <c:pt idx="763">
                  <c:v>0.95478083957152338</c:v>
                </c:pt>
                <c:pt idx="764">
                  <c:v>0.96319160322135722</c:v>
                </c:pt>
                <c:pt idx="765">
                  <c:v>0.96985832021503127</c:v>
                </c:pt>
                <c:pt idx="766">
                  <c:v>0.9923096767761842</c:v>
                </c:pt>
                <c:pt idx="767">
                  <c:v>0.97197625972158652</c:v>
                </c:pt>
                <c:pt idx="768">
                  <c:v>0.95355373796278264</c:v>
                </c:pt>
                <c:pt idx="769">
                  <c:v>0.95992618443810152</c:v>
                </c:pt>
                <c:pt idx="770">
                  <c:v>0.98149052767409739</c:v>
                </c:pt>
                <c:pt idx="771">
                  <c:v>0.97087312438645335</c:v>
                </c:pt>
                <c:pt idx="772">
                  <c:v>0.92798776410175787</c:v>
                </c:pt>
                <c:pt idx="773">
                  <c:v>0.9281620177440979</c:v>
                </c:pt>
                <c:pt idx="774">
                  <c:v>0.9412268360970415</c:v>
                </c:pt>
                <c:pt idx="775">
                  <c:v>0.98034139324616276</c:v>
                </c:pt>
                <c:pt idx="776">
                  <c:v>0.97973707247546526</c:v>
                </c:pt>
                <c:pt idx="777">
                  <c:v>0.99239733631155991</c:v>
                </c:pt>
                <c:pt idx="778">
                  <c:v>0.95062356445141971</c:v>
                </c:pt>
                <c:pt idx="779">
                  <c:v>0.96249317830287484</c:v>
                </c:pt>
                <c:pt idx="780">
                  <c:v>0.99366909963523187</c:v>
                </c:pt>
                <c:pt idx="781">
                  <c:v>0.99759269383636684</c:v>
                </c:pt>
                <c:pt idx="782">
                  <c:v>1.0255009790656056</c:v>
                </c:pt>
                <c:pt idx="783">
                  <c:v>1.0072647941784711</c:v>
                </c:pt>
                <c:pt idx="784">
                  <c:v>1.0161597537598552</c:v>
                </c:pt>
                <c:pt idx="785">
                  <c:v>1.0482803121795363</c:v>
                </c:pt>
                <c:pt idx="786">
                  <c:v>1.0216267862201833</c:v>
                </c:pt>
                <c:pt idx="787">
                  <c:v>1.0234170047401976</c:v>
                </c:pt>
                <c:pt idx="788">
                  <c:v>1.0441384780240226</c:v>
                </c:pt>
                <c:pt idx="789">
                  <c:v>1.0364751059052457</c:v>
                </c:pt>
                <c:pt idx="790">
                  <c:v>1.0692243193835846</c:v>
                </c:pt>
                <c:pt idx="791">
                  <c:v>1.0873781231916058</c:v>
                </c:pt>
                <c:pt idx="792">
                  <c:v>1.0865790254254974</c:v>
                </c:pt>
                <c:pt idx="793">
                  <c:v>1.0878645353681808</c:v>
                </c:pt>
                <c:pt idx="794">
                  <c:v>1.0796448041952531</c:v>
                </c:pt>
                <c:pt idx="795">
                  <c:v>1.0950633113724426</c:v>
                </c:pt>
                <c:pt idx="796">
                  <c:v>1.1041614343556292</c:v>
                </c:pt>
                <c:pt idx="797">
                  <c:v>1.0963719249640895</c:v>
                </c:pt>
                <c:pt idx="798">
                  <c:v>1.0997520737220343</c:v>
                </c:pt>
                <c:pt idx="799">
                  <c:v>1.1051258868592537</c:v>
                </c:pt>
                <c:pt idx="800">
                  <c:v>1.1157500009034862</c:v>
                </c:pt>
                <c:pt idx="801">
                  <c:v>1.13848248365594</c:v>
                </c:pt>
                <c:pt idx="802">
                  <c:v>1.1684311694958596</c:v>
                </c:pt>
                <c:pt idx="803">
                  <c:v>1.1687719867404625</c:v>
                </c:pt>
                <c:pt idx="804">
                  <c:v>1.1578830330735355</c:v>
                </c:pt>
                <c:pt idx="805">
                  <c:v>1.147220390184865</c:v>
                </c:pt>
                <c:pt idx="806">
                  <c:v>1.1135348153274045</c:v>
                </c:pt>
                <c:pt idx="807">
                  <c:v>1.1303478387466133</c:v>
                </c:pt>
                <c:pt idx="808">
                  <c:v>1.1433135206283589</c:v>
                </c:pt>
                <c:pt idx="809">
                  <c:v>1.1525089974691354</c:v>
                </c:pt>
                <c:pt idx="810">
                  <c:v>1.1405910559833647</c:v>
                </c:pt>
                <c:pt idx="811">
                  <c:v>1.1521875407381637</c:v>
                </c:pt>
                <c:pt idx="812">
                  <c:v>1.1448475505404612</c:v>
                </c:pt>
                <c:pt idx="813">
                  <c:v>1.1186776948461232</c:v>
                </c:pt>
                <c:pt idx="814">
                  <c:v>1.1682287852230211</c:v>
                </c:pt>
                <c:pt idx="815">
                  <c:v>1.166155617716256</c:v>
                </c:pt>
                <c:pt idx="816">
                  <c:v>1.137693478759944</c:v>
                </c:pt>
                <c:pt idx="817">
                  <c:v>1.1648774913665696</c:v>
                </c:pt>
                <c:pt idx="818">
                  <c:v>1.1748757884472592</c:v>
                </c:pt>
                <c:pt idx="819">
                  <c:v>1.142061991048581</c:v>
                </c:pt>
                <c:pt idx="820">
                  <c:v>1.1362455625852288</c:v>
                </c:pt>
                <c:pt idx="821">
                  <c:v>1.1160202911786956</c:v>
                </c:pt>
                <c:pt idx="822">
                  <c:v>1.1083932961384828</c:v>
                </c:pt>
                <c:pt idx="823">
                  <c:v>1.1161457298769637</c:v>
                </c:pt>
                <c:pt idx="824">
                  <c:v>1.1417523788561403</c:v>
                </c:pt>
                <c:pt idx="825">
                  <c:v>1.140464723236206</c:v>
                </c:pt>
                <c:pt idx="826">
                  <c:v>1.1345306452212898</c:v>
                </c:pt>
                <c:pt idx="827">
                  <c:v>1.1291127928266205</c:v>
                </c:pt>
                <c:pt idx="828">
                  <c:v>1.1128268759847502</c:v>
                </c:pt>
                <c:pt idx="829">
                  <c:v>1.1133485286452571</c:v>
                </c:pt>
                <c:pt idx="830">
                  <c:v>1.0990964030629007</c:v>
                </c:pt>
                <c:pt idx="831">
                  <c:v>1.0772941012765085</c:v>
                </c:pt>
                <c:pt idx="832">
                  <c:v>1.0326970639090882</c:v>
                </c:pt>
                <c:pt idx="833">
                  <c:v>1.0233008996296229</c:v>
                </c:pt>
                <c:pt idx="834">
                  <c:v>1.0370872154612254</c:v>
                </c:pt>
                <c:pt idx="835">
                  <c:v>1.0578681138197519</c:v>
                </c:pt>
                <c:pt idx="836">
                  <c:v>1.1053822381751564</c:v>
                </c:pt>
                <c:pt idx="837">
                  <c:v>1.1316079529323679</c:v>
                </c:pt>
                <c:pt idx="838">
                  <c:v>1.1455810377177575</c:v>
                </c:pt>
                <c:pt idx="839">
                  <c:v>1.1261863517751982</c:v>
                </c:pt>
                <c:pt idx="840">
                  <c:v>1.1636944320494083</c:v>
                </c:pt>
                <c:pt idx="841">
                  <c:v>1.1621558572580266</c:v>
                </c:pt>
                <c:pt idx="842">
                  <c:v>1.1352884148736107</c:v>
                </c:pt>
                <c:pt idx="843">
                  <c:v>1.1319442784264451</c:v>
                </c:pt>
                <c:pt idx="844">
                  <c:v>1.1298157619337668</c:v>
                </c:pt>
                <c:pt idx="845">
                  <c:v>1.0698615124930786</c:v>
                </c:pt>
                <c:pt idx="846">
                  <c:v>1.0541535869816292</c:v>
                </c:pt>
                <c:pt idx="847">
                  <c:v>1.0739170589307001</c:v>
                </c:pt>
                <c:pt idx="848">
                  <c:v>1.0357380621244603</c:v>
                </c:pt>
                <c:pt idx="849">
                  <c:v>1.0256372789427015</c:v>
                </c:pt>
                <c:pt idx="850">
                  <c:v>1.0297523452137012</c:v>
                </c:pt>
                <c:pt idx="851">
                  <c:v>1.0321064169522338</c:v>
                </c:pt>
                <c:pt idx="852">
                  <c:v>1.0442060316619222</c:v>
                </c:pt>
                <c:pt idx="853">
                  <c:v>1.0502320276148298</c:v>
                </c:pt>
                <c:pt idx="854">
                  <c:v>1.0797115305706939</c:v>
                </c:pt>
                <c:pt idx="855">
                  <c:v>1.0840927032534213</c:v>
                </c:pt>
                <c:pt idx="856">
                  <c:v>1.1156607570095767</c:v>
                </c:pt>
                <c:pt idx="857">
                  <c:v>1.1069460069784751</c:v>
                </c:pt>
                <c:pt idx="858">
                  <c:v>1.0992450977585644</c:v>
                </c:pt>
                <c:pt idx="859">
                  <c:v>1.1199627489964941</c:v>
                </c:pt>
                <c:pt idx="860">
                  <c:v>1.1550237161834536</c:v>
                </c:pt>
                <c:pt idx="861">
                  <c:v>1.1723752197628443</c:v>
                </c:pt>
                <c:pt idx="862">
                  <c:v>1.1986853013251233</c:v>
                </c:pt>
                <c:pt idx="863">
                  <c:v>1.1979950993491226</c:v>
                </c:pt>
                <c:pt idx="864">
                  <c:v>1.2234280236418718</c:v>
                </c:pt>
                <c:pt idx="865">
                  <c:v>1.2434425850700099</c:v>
                </c:pt>
                <c:pt idx="866">
                  <c:v>1.262883966949653</c:v>
                </c:pt>
                <c:pt idx="867">
                  <c:v>1.200896887052894</c:v>
                </c:pt>
                <c:pt idx="868">
                  <c:v>1.2073157821586946</c:v>
                </c:pt>
                <c:pt idx="869">
                  <c:v>1.152223563283161</c:v>
                </c:pt>
                <c:pt idx="870">
                  <c:v>1.1405606054145716</c:v>
                </c:pt>
                <c:pt idx="871">
                  <c:v>1.1202594745515786</c:v>
                </c:pt>
                <c:pt idx="872">
                  <c:v>1.14774186899732</c:v>
                </c:pt>
                <c:pt idx="873">
                  <c:v>1.1474499075439324</c:v>
                </c:pt>
                <c:pt idx="874">
                  <c:v>1.134716865826624</c:v>
                </c:pt>
                <c:pt idx="875">
                  <c:v>1.1523580312811044</c:v>
                </c:pt>
                <c:pt idx="876">
                  <c:v>1.1542439689185926</c:v>
                </c:pt>
                <c:pt idx="877">
                  <c:v>1.1264891697048685</c:v>
                </c:pt>
                <c:pt idx="878">
                  <c:v>1.128955078775268</c:v>
                </c:pt>
                <c:pt idx="879">
                  <c:v>1.1324499086930615</c:v>
                </c:pt>
                <c:pt idx="880">
                  <c:v>1.157249148367735</c:v>
                </c:pt>
                <c:pt idx="881">
                  <c:v>1.1743131600426953</c:v>
                </c:pt>
                <c:pt idx="882">
                  <c:v>1.1844061167785165</c:v>
                </c:pt>
                <c:pt idx="883">
                  <c:v>1.1570952693558081</c:v>
                </c:pt>
                <c:pt idx="884">
                  <c:v>1.1549596650779577</c:v>
                </c:pt>
                <c:pt idx="885">
                  <c:v>1.1588801602436944</c:v>
                </c:pt>
                <c:pt idx="886">
                  <c:v>1.1159415716774101</c:v>
                </c:pt>
                <c:pt idx="887">
                  <c:v>1.0784985580819961</c:v>
                </c:pt>
                <c:pt idx="888">
                  <c:v>1.0670419366752435</c:v>
                </c:pt>
                <c:pt idx="889">
                  <c:v>1.0764352759110998</c:v>
                </c:pt>
                <c:pt idx="890">
                  <c:v>1.0640175437150141</c:v>
                </c:pt>
                <c:pt idx="891">
                  <c:v>1.0729084178615984</c:v>
                </c:pt>
                <c:pt idx="892">
                  <c:v>1.0445292194680718</c:v>
                </c:pt>
                <c:pt idx="893">
                  <c:v>1.0487823969389605</c:v>
                </c:pt>
                <c:pt idx="894">
                  <c:v>1.0815896306049988</c:v>
                </c:pt>
                <c:pt idx="895">
                  <c:v>1.0306903417831956</c:v>
                </c:pt>
                <c:pt idx="896">
                  <c:v>0.97595456442805606</c:v>
                </c:pt>
                <c:pt idx="897">
                  <c:v>0.95337250840631327</c:v>
                </c:pt>
                <c:pt idx="898">
                  <c:v>0.96820085892639329</c:v>
                </c:pt>
                <c:pt idx="899">
                  <c:v>0.99892512124255906</c:v>
                </c:pt>
                <c:pt idx="900">
                  <c:v>1.0104325699890233</c:v>
                </c:pt>
                <c:pt idx="901">
                  <c:v>0.99727575160092108</c:v>
                </c:pt>
                <c:pt idx="902">
                  <c:v>0.9939910862627952</c:v>
                </c:pt>
                <c:pt idx="903">
                  <c:v>1.0169705169069869</c:v>
                </c:pt>
                <c:pt idx="904">
                  <c:v>1.0062456571735574</c:v>
                </c:pt>
                <c:pt idx="905">
                  <c:v>1.0553841475617924</c:v>
                </c:pt>
                <c:pt idx="906">
                  <c:v>1.0542469156415801</c:v>
                </c:pt>
                <c:pt idx="907">
                  <c:v>1.0759506923986426</c:v>
                </c:pt>
                <c:pt idx="908">
                  <c:v>1.0746241153293146</c:v>
                </c:pt>
                <c:pt idx="909">
                  <c:v>1.1117157136413021</c:v>
                </c:pt>
                <c:pt idx="910">
                  <c:v>1.1142444279247217</c:v>
                </c:pt>
                <c:pt idx="911">
                  <c:v>1.0983771019392736</c:v>
                </c:pt>
                <c:pt idx="912">
                  <c:v>1.0885681628457131</c:v>
                </c:pt>
                <c:pt idx="913">
                  <c:v>1.0942126348761383</c:v>
                </c:pt>
                <c:pt idx="914">
                  <c:v>1.0837857781421691</c:v>
                </c:pt>
                <c:pt idx="915">
                  <c:v>1.0989448507301161</c:v>
                </c:pt>
                <c:pt idx="916">
                  <c:v>1.0794991869490482</c:v>
                </c:pt>
                <c:pt idx="917">
                  <c:v>1.0986063507819785</c:v>
                </c:pt>
                <c:pt idx="918">
                  <c:v>1.0989260642207268</c:v>
                </c:pt>
                <c:pt idx="919">
                  <c:v>1.1259317766149948</c:v>
                </c:pt>
                <c:pt idx="920">
                  <c:v>1.1015628194348661</c:v>
                </c:pt>
                <c:pt idx="921">
                  <c:v>1.108862538384384</c:v>
                </c:pt>
                <c:pt idx="922">
                  <c:v>1.1236498708485956</c:v>
                </c:pt>
                <c:pt idx="923">
                  <c:v>1.1234287952801092</c:v>
                </c:pt>
                <c:pt idx="924">
                  <c:v>1.0796214987879609</c:v>
                </c:pt>
                <c:pt idx="925">
                  <c:v>1.0627878737152257</c:v>
                </c:pt>
                <c:pt idx="926">
                  <c:v>1.0940864505560444</c:v>
                </c:pt>
                <c:pt idx="927">
                  <c:v>1.0949853438406416</c:v>
                </c:pt>
                <c:pt idx="928">
                  <c:v>1.1167548031338763</c:v>
                </c:pt>
                <c:pt idx="929">
                  <c:v>1.1218984486272634</c:v>
                </c:pt>
                <c:pt idx="930">
                  <c:v>1.0851965780001467</c:v>
                </c:pt>
                <c:pt idx="931">
                  <c:v>1.0767507873526347</c:v>
                </c:pt>
                <c:pt idx="932">
                  <c:v>1.0923375349783524</c:v>
                </c:pt>
                <c:pt idx="933">
                  <c:v>1.1174789214052088</c:v>
                </c:pt>
                <c:pt idx="934">
                  <c:v>1.071021219030186</c:v>
                </c:pt>
                <c:pt idx="935">
                  <c:v>1.0783284555572659</c:v>
                </c:pt>
                <c:pt idx="936">
                  <c:v>1.054638907781452</c:v>
                </c:pt>
                <c:pt idx="937">
                  <c:v>1.0502362253475452</c:v>
                </c:pt>
                <c:pt idx="938">
                  <c:v>1.0854046369011203</c:v>
                </c:pt>
                <c:pt idx="939">
                  <c:v>1.0623352244147133</c:v>
                </c:pt>
                <c:pt idx="940">
                  <c:v>1.0441930567595954</c:v>
                </c:pt>
                <c:pt idx="941">
                  <c:v>1.0542098911619342</c:v>
                </c:pt>
                <c:pt idx="942">
                  <c:v>1.0293949574845529</c:v>
                </c:pt>
                <c:pt idx="943">
                  <c:v>1.0413276265452929</c:v>
                </c:pt>
                <c:pt idx="944">
                  <c:v>1.02038291357832</c:v>
                </c:pt>
                <c:pt idx="945">
                  <c:v>1.0250852574036158</c:v>
                </c:pt>
                <c:pt idx="946">
                  <c:v>1.0339010580560708</c:v>
                </c:pt>
                <c:pt idx="947">
                  <c:v>1.0415595213712656</c:v>
                </c:pt>
                <c:pt idx="948">
                  <c:v>1.0115282805565011</c:v>
                </c:pt>
                <c:pt idx="949">
                  <c:v>1.0353193886715055</c:v>
                </c:pt>
                <c:pt idx="950">
                  <c:v>1.0416933071862176</c:v>
                </c:pt>
                <c:pt idx="951">
                  <c:v>1.0352788830027388</c:v>
                </c:pt>
                <c:pt idx="952">
                  <c:v>1.0220983055638821</c:v>
                </c:pt>
                <c:pt idx="953">
                  <c:v>1.0038786072352157</c:v>
                </c:pt>
                <c:pt idx="954">
                  <c:v>1.050988577125038</c:v>
                </c:pt>
                <c:pt idx="955">
                  <c:v>1.1076516862554386</c:v>
                </c:pt>
                <c:pt idx="956">
                  <c:v>1.1190769045421187</c:v>
                </c:pt>
                <c:pt idx="957">
                  <c:v>1.1234075467652123</c:v>
                </c:pt>
                <c:pt idx="958">
                  <c:v>1.1464433078283971</c:v>
                </c:pt>
                <c:pt idx="959">
                  <c:v>1.1596365763666272</c:v>
                </c:pt>
                <c:pt idx="960">
                  <c:v>1.1609018555759008</c:v>
                </c:pt>
                <c:pt idx="961">
                  <c:v>1.1876907203947618</c:v>
                </c:pt>
                <c:pt idx="962">
                  <c:v>1.2210278589197154</c:v>
                </c:pt>
                <c:pt idx="963">
                  <c:v>1.2250601038579765</c:v>
                </c:pt>
                <c:pt idx="964">
                  <c:v>1.1941663759013375</c:v>
                </c:pt>
                <c:pt idx="965">
                  <c:v>1.192931601749075</c:v>
                </c:pt>
                <c:pt idx="966">
                  <c:v>1.2166275439283634</c:v>
                </c:pt>
                <c:pt idx="967">
                  <c:v>1.2223403429399258</c:v>
                </c:pt>
                <c:pt idx="968">
                  <c:v>1.2586435777907814</c:v>
                </c:pt>
                <c:pt idx="969">
                  <c:v>1.2306150223905663</c:v>
                </c:pt>
                <c:pt idx="970">
                  <c:v>1.2310858918525061</c:v>
                </c:pt>
                <c:pt idx="971">
                  <c:v>1.2306177310602999</c:v>
                </c:pt>
                <c:pt idx="972">
                  <c:v>1.2239640341894231</c:v>
                </c:pt>
                <c:pt idx="973">
                  <c:v>1.232149009980408</c:v>
                </c:pt>
                <c:pt idx="974">
                  <c:v>1.2604990477832048</c:v>
                </c:pt>
                <c:pt idx="975">
                  <c:v>1.2708860680050997</c:v>
                </c:pt>
                <c:pt idx="976">
                  <c:v>1.2720528662849104</c:v>
                </c:pt>
                <c:pt idx="977">
                  <c:v>1.2389989889518298</c:v>
                </c:pt>
                <c:pt idx="978">
                  <c:v>1.2321954355530824</c:v>
                </c:pt>
                <c:pt idx="979">
                  <c:v>1.2459082276909315</c:v>
                </c:pt>
                <c:pt idx="980">
                  <c:v>1.2459082276909315</c:v>
                </c:pt>
                <c:pt idx="981">
                  <c:v>1.2242088513925868</c:v>
                </c:pt>
                <c:pt idx="982">
                  <c:v>1.2429559806736812</c:v>
                </c:pt>
                <c:pt idx="983">
                  <c:v>1.2691978670823758</c:v>
                </c:pt>
                <c:pt idx="984">
                  <c:v>1.2554374639170414</c:v>
                </c:pt>
                <c:pt idx="985">
                  <c:v>1.220618827718402</c:v>
                </c:pt>
                <c:pt idx="986">
                  <c:v>1.1769065520499344</c:v>
                </c:pt>
                <c:pt idx="987">
                  <c:v>1.1656070456831653</c:v>
                </c:pt>
                <c:pt idx="988">
                  <c:v>1.1385248898162843</c:v>
                </c:pt>
                <c:pt idx="989">
                  <c:v>1.1226240382170674</c:v>
                </c:pt>
                <c:pt idx="990">
                  <c:v>1.0975156696654904</c:v>
                </c:pt>
                <c:pt idx="991">
                  <c:v>1.1170250427974118</c:v>
                </c:pt>
                <c:pt idx="992">
                  <c:v>1.0947415858479785</c:v>
                </c:pt>
                <c:pt idx="993">
                  <c:v>1.0580402862423661</c:v>
                </c:pt>
                <c:pt idx="994">
                  <c:v>1.0470957274125376</c:v>
                </c:pt>
                <c:pt idx="995">
                  <c:v>1.0661087922858752</c:v>
                </c:pt>
                <c:pt idx="996">
                  <c:v>1.0972440549526945</c:v>
                </c:pt>
                <c:pt idx="997">
                  <c:v>1.0747801975838034</c:v>
                </c:pt>
                <c:pt idx="998">
                  <c:v>1.0187755669989238</c:v>
                </c:pt>
                <c:pt idx="999">
                  <c:v>0.96582729594446548</c:v>
                </c:pt>
                <c:pt idx="1000">
                  <c:v>0.96673866991756285</c:v>
                </c:pt>
                <c:pt idx="1001">
                  <c:v>0.98411075519710889</c:v>
                </c:pt>
                <c:pt idx="1002">
                  <c:v>0.99618584438805413</c:v>
                </c:pt>
                <c:pt idx="1003">
                  <c:v>0.98950992540404503</c:v>
                </c:pt>
                <c:pt idx="1004">
                  <c:v>1.0324817163628885</c:v>
                </c:pt>
                <c:pt idx="1005">
                  <c:v>0.99070475621069642</c:v>
                </c:pt>
                <c:pt idx="1006">
                  <c:v>0.98865565289437385</c:v>
                </c:pt>
                <c:pt idx="1007">
                  <c:v>0.99159716933670172</c:v>
                </c:pt>
                <c:pt idx="1008">
                  <c:v>1.0537051882077426</c:v>
                </c:pt>
                <c:pt idx="1009">
                  <c:v>1.0505156951737809</c:v>
                </c:pt>
                <c:pt idx="1010">
                  <c:v>1.0262922093267257</c:v>
                </c:pt>
                <c:pt idx="1011">
                  <c:v>1.04098505871752</c:v>
                </c:pt>
                <c:pt idx="1012">
                  <c:v>1.040768119981532</c:v>
                </c:pt>
                <c:pt idx="1013">
                  <c:v>1.0748751365343723</c:v>
                </c:pt>
                <c:pt idx="1014">
                  <c:v>1.0688295276328141</c:v>
                </c:pt>
                <c:pt idx="1015">
                  <c:v>1.0704682926604587</c:v>
                </c:pt>
                <c:pt idx="1016">
                  <c:v>1.0606047169381239</c:v>
                </c:pt>
                <c:pt idx="1017">
                  <c:v>1.0432767857155181</c:v>
                </c:pt>
                <c:pt idx="1018">
                  <c:v>1.0822071234585899</c:v>
                </c:pt>
                <c:pt idx="1019">
                  <c:v>1.1188993247494308</c:v>
                </c:pt>
                <c:pt idx="1020">
                  <c:v>1.1378254113292894</c:v>
                </c:pt>
                <c:pt idx="1021">
                  <c:v>1.1472703462182867</c:v>
                </c:pt>
                <c:pt idx="1022">
                  <c:v>1.1152697730444707</c:v>
                </c:pt>
                <c:pt idx="1023">
                  <c:v>1.1071457053627696</c:v>
                </c:pt>
                <c:pt idx="1024">
                  <c:v>1.1051860155793942</c:v>
                </c:pt>
                <c:pt idx="1025">
                  <c:v>1.1066345376862223</c:v>
                </c:pt>
                <c:pt idx="1026">
                  <c:v>1.1335717649256081</c:v>
                </c:pt>
                <c:pt idx="1027">
                  <c:v>1.0982821385755017</c:v>
                </c:pt>
                <c:pt idx="1028">
                  <c:v>1.1117445362935199</c:v>
                </c:pt>
                <c:pt idx="1029">
                  <c:v>1.1122630229662689</c:v>
                </c:pt>
                <c:pt idx="1030">
                  <c:v>1.1382282969220092</c:v>
                </c:pt>
                <c:pt idx="1031">
                  <c:v>1.1413347213839407</c:v>
                </c:pt>
                <c:pt idx="1032">
                  <c:v>1.1662746499601984</c:v>
                </c:pt>
                <c:pt idx="1033">
                  <c:v>1.1764550359503341</c:v>
                </c:pt>
                <c:pt idx="1034">
                  <c:v>1.2075621936831669</c:v>
                </c:pt>
                <c:pt idx="1035">
                  <c:v>1.1595902131208209</c:v>
                </c:pt>
                <c:pt idx="1036">
                  <c:v>1.1515379150911498</c:v>
                </c:pt>
                <c:pt idx="1037">
                  <c:v>1.1596321255754627</c:v>
                </c:pt>
                <c:pt idx="1038">
                  <c:v>1.1580799831237163</c:v>
                </c:pt>
                <c:pt idx="1039">
                  <c:v>1.1029278727428722</c:v>
                </c:pt>
                <c:pt idx="1040">
                  <c:v>1.1112990557891467</c:v>
                </c:pt>
                <c:pt idx="1041">
                  <c:v>1.12100713166657</c:v>
                </c:pt>
                <c:pt idx="1042">
                  <c:v>1.1524443400829587</c:v>
                </c:pt>
                <c:pt idx="1043">
                  <c:v>1.1686955323401502</c:v>
                </c:pt>
                <c:pt idx="1044">
                  <c:v>1.2112303351267186</c:v>
                </c:pt>
                <c:pt idx="1045">
                  <c:v>1.1948735479953203</c:v>
                </c:pt>
                <c:pt idx="1046">
                  <c:v>1.2075956739852776</c:v>
                </c:pt>
                <c:pt idx="1047">
                  <c:v>1.2528659618169733</c:v>
                </c:pt>
                <c:pt idx="1048">
                  <c:v>1.3208037631098577</c:v>
                </c:pt>
                <c:pt idx="1049">
                  <c:v>1.3635414043183005</c:v>
                </c:pt>
                <c:pt idx="1050">
                  <c:v>1.3398144631623159</c:v>
                </c:pt>
                <c:pt idx="1051">
                  <c:v>1.3154504523064023</c:v>
                </c:pt>
                <c:pt idx="1052">
                  <c:v>1.2650162989302312</c:v>
                </c:pt>
                <c:pt idx="1053">
                  <c:v>1.313782522386804</c:v>
                </c:pt>
                <c:pt idx="1054">
                  <c:v>1.3835856487083944</c:v>
                </c:pt>
                <c:pt idx="1055">
                  <c:v>1.3776041224820614</c:v>
                </c:pt>
                <c:pt idx="1056">
                  <c:v>1.3923429623232859</c:v>
                </c:pt>
                <c:pt idx="1057">
                  <c:v>1.3363051290216108</c:v>
                </c:pt>
                <c:pt idx="1058">
                  <c:v>1.3285824768712946</c:v>
                </c:pt>
                <c:pt idx="1059">
                  <c:v>1.2906919874437952</c:v>
                </c:pt>
                <c:pt idx="1060">
                  <c:v>1.2872032699090372</c:v>
                </c:pt>
                <c:pt idx="1061">
                  <c:v>1.2704197088203333</c:v>
                </c:pt>
                <c:pt idx="1062">
                  <c:v>1.2476837033703354</c:v>
                </c:pt>
                <c:pt idx="1063">
                  <c:v>1.153131594016173</c:v>
                </c:pt>
                <c:pt idx="1064">
                  <c:v>1.1583631387826199</c:v>
                </c:pt>
                <c:pt idx="1065">
                  <c:v>1.0511983944604029</c:v>
                </c:pt>
                <c:pt idx="1066">
                  <c:v>1.0160724510616608</c:v>
                </c:pt>
                <c:pt idx="1067">
                  <c:v>0.98599668476399582</c:v>
                </c:pt>
                <c:pt idx="1068">
                  <c:v>0.91179145417906704</c:v>
                </c:pt>
                <c:pt idx="1069">
                  <c:v>0.89384718811378727</c:v>
                </c:pt>
                <c:pt idx="1070">
                  <c:v>0.88848511886897297</c:v>
                </c:pt>
                <c:pt idx="1071">
                  <c:v>0.88690618480488781</c:v>
                </c:pt>
                <c:pt idx="1072">
                  <c:v>0.8774199715367853</c:v>
                </c:pt>
                <c:pt idx="1073">
                  <c:v>0.90937624847492193</c:v>
                </c:pt>
                <c:pt idx="1074">
                  <c:v>0.91279035739820358</c:v>
                </c:pt>
                <c:pt idx="1075">
                  <c:v>0.89785083896617168</c:v>
                </c:pt>
                <c:pt idx="1076">
                  <c:v>0.93194339668439963</c:v>
                </c:pt>
                <c:pt idx="1077">
                  <c:v>0.9647649443514531</c:v>
                </c:pt>
                <c:pt idx="1078">
                  <c:v>0.97822210904459506</c:v>
                </c:pt>
                <c:pt idx="1079">
                  <c:v>0.95953236818327159</c:v>
                </c:pt>
                <c:pt idx="1080">
                  <c:v>0.97362718351179878</c:v>
                </c:pt>
                <c:pt idx="1081">
                  <c:v>0.98167806737086105</c:v>
                </c:pt>
                <c:pt idx="1082">
                  <c:v>0.97788492407398453</c:v>
                </c:pt>
                <c:pt idx="1083">
                  <c:v>1.0998992133690666</c:v>
                </c:pt>
                <c:pt idx="1084">
                  <c:v>1.0801370880736654</c:v>
                </c:pt>
                <c:pt idx="1085">
                  <c:v>1.0680035640873231</c:v>
                </c:pt>
                <c:pt idx="1086">
                  <c:v>1.0711806369558996</c:v>
                </c:pt>
                <c:pt idx="1087">
                  <c:v>1.0855645179263387</c:v>
                </c:pt>
                <c:pt idx="1088">
                  <c:v>1.1704332439291967</c:v>
                </c:pt>
                <c:pt idx="1089">
                  <c:v>1.261100048899108</c:v>
                </c:pt>
                <c:pt idx="1090">
                  <c:v>1.3071364088716406</c:v>
                </c:pt>
                <c:pt idx="1091">
                  <c:v>1.3615452953897085</c:v>
                </c:pt>
                <c:pt idx="1092">
                  <c:v>1.3689009797911307</c:v>
                </c:pt>
                <c:pt idx="1093">
                  <c:v>1.3472239877311711</c:v>
                </c:pt>
                <c:pt idx="1094">
                  <c:v>1.3432196915564276</c:v>
                </c:pt>
                <c:pt idx="1095">
                  <c:v>1.3655446745033699</c:v>
                </c:pt>
                <c:pt idx="1096">
                  <c:v>1.4122153724076629</c:v>
                </c:pt>
                <c:pt idx="1097">
                  <c:v>1.4533902524120796</c:v>
                </c:pt>
                <c:pt idx="1098">
                  <c:v>1.3918685514502176</c:v>
                </c:pt>
                <c:pt idx="1099">
                  <c:v>1.3932043980061415</c:v>
                </c:pt>
                <c:pt idx="1100">
                  <c:v>1.3047770789703697</c:v>
                </c:pt>
                <c:pt idx="1101">
                  <c:v>1.3044577005304223</c:v>
                </c:pt>
                <c:pt idx="1102">
                  <c:v>1.3182902742991873</c:v>
                </c:pt>
                <c:pt idx="1103">
                  <c:v>1.2726457919735386</c:v>
                </c:pt>
                <c:pt idx="1104">
                  <c:v>1.2905888461831951</c:v>
                </c:pt>
                <c:pt idx="1105">
                  <c:v>1.2782971704239889</c:v>
                </c:pt>
                <c:pt idx="1106">
                  <c:v>1.2638930300456002</c:v>
                </c:pt>
                <c:pt idx="1107">
                  <c:v>1.291884761330955</c:v>
                </c:pt>
                <c:pt idx="1108">
                  <c:v>1.291271191625748</c:v>
                </c:pt>
                <c:pt idx="1109">
                  <c:v>1.2875560745696819</c:v>
                </c:pt>
                <c:pt idx="1110">
                  <c:v>1.260560380592012</c:v>
                </c:pt>
                <c:pt idx="1111">
                  <c:v>1.1346306300583751</c:v>
                </c:pt>
                <c:pt idx="1112">
                  <c:v>1.0353853368185797</c:v>
                </c:pt>
                <c:pt idx="1113">
                  <c:v>0.93052488367575892</c:v>
                </c:pt>
                <c:pt idx="1114">
                  <c:v>0.9710787704891003</c:v>
                </c:pt>
                <c:pt idx="1115">
                  <c:v>1.0401015252347714</c:v>
                </c:pt>
                <c:pt idx="1116">
                  <c:v>1.0376374115506155</c:v>
                </c:pt>
                <c:pt idx="1117">
                  <c:v>1.0840033329314307</c:v>
                </c:pt>
                <c:pt idx="1118">
                  <c:v>1.0814530249443519</c:v>
                </c:pt>
                <c:pt idx="1119">
                  <c:v>1.0721034495101729</c:v>
                </c:pt>
                <c:pt idx="1120">
                  <c:v>1.0734758136915075</c:v>
                </c:pt>
                <c:pt idx="1121">
                  <c:v>1.1623480129573094</c:v>
                </c:pt>
                <c:pt idx="1122">
                  <c:v>1.2213931759767533</c:v>
                </c:pt>
                <c:pt idx="1123">
                  <c:v>1.2496915748527972</c:v>
                </c:pt>
                <c:pt idx="1124">
                  <c:v>1.244874826371444</c:v>
                </c:pt>
                <c:pt idx="1125">
                  <c:v>1.228581838272621</c:v>
                </c:pt>
                <c:pt idx="1126">
                  <c:v>1.1999082402193246</c:v>
                </c:pt>
                <c:pt idx="1127">
                  <c:v>1.1800648788433499</c:v>
                </c:pt>
                <c:pt idx="1128">
                  <c:v>1.1579577870367901</c:v>
                </c:pt>
                <c:pt idx="1129">
                  <c:v>1.1564686701101059</c:v>
                </c:pt>
                <c:pt idx="1130">
                  <c:v>1.1644842875341763</c:v>
                </c:pt>
                <c:pt idx="1131">
                  <c:v>1.1665069629554963</c:v>
                </c:pt>
                <c:pt idx="1132">
                  <c:v>1.1897974888678029</c:v>
                </c:pt>
                <c:pt idx="1133">
                  <c:v>1.204958840148332</c:v>
                </c:pt>
                <c:pt idx="1134">
                  <c:v>1.2249238729911569</c:v>
                </c:pt>
                <c:pt idx="1135">
                  <c:v>1.2079249958912701</c:v>
                </c:pt>
                <c:pt idx="1136">
                  <c:v>1.2107917075780563</c:v>
                </c:pt>
                <c:pt idx="1137">
                  <c:v>1.2089384839868884</c:v>
                </c:pt>
                <c:pt idx="1138">
                  <c:v>1.19009071670125</c:v>
                </c:pt>
                <c:pt idx="1139">
                  <c:v>1.1990248726199515</c:v>
                </c:pt>
                <c:pt idx="1140">
                  <c:v>1.2067239040663618</c:v>
                </c:pt>
                <c:pt idx="1141">
                  <c:v>1.1882714472114801</c:v>
                </c:pt>
                <c:pt idx="1142">
                  <c:v>1.1384502765857034</c:v>
                </c:pt>
                <c:pt idx="1143">
                  <c:v>1.1424546295784188</c:v>
                </c:pt>
                <c:pt idx="1144">
                  <c:v>1.1475463305004996</c:v>
                </c:pt>
                <c:pt idx="1145">
                  <c:v>1.1352384998813703</c:v>
                </c:pt>
                <c:pt idx="1146">
                  <c:v>1.0813008891623213</c:v>
                </c:pt>
                <c:pt idx="1147">
                  <c:v>1.1328722654794201</c:v>
                </c:pt>
                <c:pt idx="1148">
                  <c:v>1.1406042541197756</c:v>
                </c:pt>
                <c:pt idx="1149">
                  <c:v>1.1604401278491627</c:v>
                </c:pt>
                <c:pt idx="1150">
                  <c:v>1.1987262056570849</c:v>
                </c:pt>
                <c:pt idx="1151">
                  <c:v>1.1992123759287361</c:v>
                </c:pt>
                <c:pt idx="1152">
                  <c:v>1.1453037348936261</c:v>
                </c:pt>
                <c:pt idx="1153">
                  <c:v>1.1364622526124226</c:v>
                </c:pt>
                <c:pt idx="1154">
                  <c:v>1.1139808496259405</c:v>
                </c:pt>
                <c:pt idx="1155">
                  <c:v>1.1338679637152571</c:v>
                </c:pt>
                <c:pt idx="1156">
                  <c:v>1.1511889132451254</c:v>
                </c:pt>
                <c:pt idx="1157">
                  <c:v>1.1756331627396921</c:v>
                </c:pt>
                <c:pt idx="1158">
                  <c:v>1.184046370059725</c:v>
                </c:pt>
                <c:pt idx="1159">
                  <c:v>1.1728352743011952</c:v>
                </c:pt>
                <c:pt idx="1160">
                  <c:v>1.1842184483165812</c:v>
                </c:pt>
                <c:pt idx="1161">
                  <c:v>1.2329557108616005</c:v>
                </c:pt>
                <c:pt idx="1162">
                  <c:v>1.2408205748313208</c:v>
                </c:pt>
                <c:pt idx="1163">
                  <c:v>1.2530013859203339</c:v>
                </c:pt>
                <c:pt idx="1164">
                  <c:v>1.2024628847691348</c:v>
                </c:pt>
                <c:pt idx="1165">
                  <c:v>1.1989521410628274</c:v>
                </c:pt>
                <c:pt idx="1166">
                  <c:v>1.2201641877883849</c:v>
                </c:pt>
                <c:pt idx="1167">
                  <c:v>1.2205051836128367</c:v>
                </c:pt>
                <c:pt idx="1168">
                  <c:v>1.2692960541647791</c:v>
                </c:pt>
                <c:pt idx="1169">
                  <c:v>1.2689338510259576</c:v>
                </c:pt>
                <c:pt idx="1170">
                  <c:v>1.3163422766314654</c:v>
                </c:pt>
                <c:pt idx="1171">
                  <c:v>1.3303216524302415</c:v>
                </c:pt>
                <c:pt idx="1172">
                  <c:v>1.3300021828747539</c:v>
                </c:pt>
                <c:pt idx="1173">
                  <c:v>1.3589768447314055</c:v>
                </c:pt>
                <c:pt idx="1174">
                  <c:v>1.3399499268448845</c:v>
                </c:pt>
                <c:pt idx="1175">
                  <c:v>1.3377062698949003</c:v>
                </c:pt>
                <c:pt idx="1176">
                  <c:v>1.337820808676943</c:v>
                </c:pt>
                <c:pt idx="1177">
                  <c:v>1.3570405814805038</c:v>
                </c:pt>
                <c:pt idx="1178">
                  <c:v>1.3279068337574675</c:v>
                </c:pt>
                <c:pt idx="1179">
                  <c:v>1.3351476097364454</c:v>
                </c:pt>
                <c:pt idx="1180">
                  <c:v>1.3358786726185079</c:v>
                </c:pt>
                <c:pt idx="1181">
                  <c:v>1.3013408304472913</c:v>
                </c:pt>
                <c:pt idx="1182">
                  <c:v>1.2624624342329795</c:v>
                </c:pt>
                <c:pt idx="1183">
                  <c:v>1.283631190123574</c:v>
                </c:pt>
                <c:pt idx="1184">
                  <c:v>1.258807423330613</c:v>
                </c:pt>
                <c:pt idx="1185">
                  <c:v>1.2462887702794767</c:v>
                </c:pt>
                <c:pt idx="1186">
                  <c:v>1.265383702273146</c:v>
                </c:pt>
                <c:pt idx="1187">
                  <c:v>1.2715369583929281</c:v>
                </c:pt>
                <c:pt idx="1188">
                  <c:v>1.2687505495522933</c:v>
                </c:pt>
                <c:pt idx="1189">
                  <c:v>1.2574624558836689</c:v>
                </c:pt>
                <c:pt idx="1190">
                  <c:v>1.2482086088402029</c:v>
                </c:pt>
                <c:pt idx="1191">
                  <c:v>1.2362723192370795</c:v>
                </c:pt>
                <c:pt idx="1192">
                  <c:v>1.2393620453966998</c:v>
                </c:pt>
                <c:pt idx="1193">
                  <c:v>1.2380898398795228</c:v>
                </c:pt>
                <c:pt idx="1194">
                  <c:v>1.2080510385856866</c:v>
                </c:pt>
                <c:pt idx="1195">
                  <c:v>1.2028434948563667</c:v>
                </c:pt>
                <c:pt idx="1196">
                  <c:v>1.2342470605399924</c:v>
                </c:pt>
                <c:pt idx="1197">
                  <c:v>1.2572110283848419</c:v>
                </c:pt>
                <c:pt idx="1198">
                  <c:v>1.2561675800813008</c:v>
                </c:pt>
                <c:pt idx="1199">
                  <c:v>1.207023531854956</c:v>
                </c:pt>
                <c:pt idx="1200">
                  <c:v>1.1839356637562608</c:v>
                </c:pt>
                <c:pt idx="1201">
                  <c:v>1.1459143881399849</c:v>
                </c:pt>
                <c:pt idx="1202">
                  <c:v>1.1456598793445567</c:v>
                </c:pt>
                <c:pt idx="1203">
                  <c:v>1.1457079325319637</c:v>
                </c:pt>
                <c:pt idx="1204">
                  <c:v>1.1686132761727939</c:v>
                </c:pt>
                <c:pt idx="1205">
                  <c:v>1.1840589930086804</c:v>
                </c:pt>
                <c:pt idx="1206">
                  <c:v>1.1799609980797019</c:v>
                </c:pt>
                <c:pt idx="1207">
                  <c:v>1.2074214950325612</c:v>
                </c:pt>
                <c:pt idx="1208">
                  <c:v>1.1830343708365554</c:v>
                </c:pt>
                <c:pt idx="1209">
                  <c:v>1.2103381736620782</c:v>
                </c:pt>
                <c:pt idx="1210">
                  <c:v>1.1722424975738932</c:v>
                </c:pt>
                <c:pt idx="1211">
                  <c:v>1.1491634170733875</c:v>
                </c:pt>
                <c:pt idx="1212">
                  <c:v>1.1588226320162709</c:v>
                </c:pt>
                <c:pt idx="1213">
                  <c:v>1.1641592101884799</c:v>
                </c:pt>
                <c:pt idx="1214">
                  <c:v>1.1424589590520433</c:v>
                </c:pt>
                <c:pt idx="1215">
                  <c:v>1.1239037191381085</c:v>
                </c:pt>
                <c:pt idx="1216">
                  <c:v>1.13520847405659</c:v>
                </c:pt>
                <c:pt idx="1217">
                  <c:v>1.1039940197749822</c:v>
                </c:pt>
                <c:pt idx="1218">
                  <c:v>1.1485204133078983</c:v>
                </c:pt>
                <c:pt idx="1219">
                  <c:v>1.1285096271165003</c:v>
                </c:pt>
                <c:pt idx="1220">
                  <c:v>1.1317107613307502</c:v>
                </c:pt>
                <c:pt idx="1221">
                  <c:v>1.1595573868219426</c:v>
                </c:pt>
                <c:pt idx="1222">
                  <c:v>1.1713763616554504</c:v>
                </c:pt>
                <c:pt idx="1223">
                  <c:v>1.115699693668333</c:v>
                </c:pt>
                <c:pt idx="1224">
                  <c:v>1.1049400314579423</c:v>
                </c:pt>
                <c:pt idx="1225">
                  <c:v>1.1232422349073101</c:v>
                </c:pt>
                <c:pt idx="1226">
                  <c:v>1.13756200350924</c:v>
                </c:pt>
                <c:pt idx="1227">
                  <c:v>1.1300760275118609</c:v>
                </c:pt>
                <c:pt idx="1228">
                  <c:v>1.1065257067890222</c:v>
                </c:pt>
                <c:pt idx="1229">
                  <c:v>1.1056502003759585</c:v>
                </c:pt>
                <c:pt idx="1230">
                  <c:v>1.1198791217411934</c:v>
                </c:pt>
                <c:pt idx="1231">
                  <c:v>1.1410269850644024</c:v>
                </c:pt>
                <c:pt idx="1232">
                  <c:v>1.1254909561933926</c:v>
                </c:pt>
                <c:pt idx="1233">
                  <c:v>1.2148238511188816</c:v>
                </c:pt>
                <c:pt idx="1234">
                  <c:v>1.2172879250502395</c:v>
                </c:pt>
                <c:pt idx="1235">
                  <c:v>1.1622299663249331</c:v>
                </c:pt>
                <c:pt idx="1236">
                  <c:v>1.2296568277281648</c:v>
                </c:pt>
                <c:pt idx="1237">
                  <c:v>1.2293309658736793</c:v>
                </c:pt>
                <c:pt idx="1238">
                  <c:v>1.2752251329804261</c:v>
                </c:pt>
                <c:pt idx="1239">
                  <c:v>1.2746577023124737</c:v>
                </c:pt>
                <c:pt idx="1240">
                  <c:v>1.2283097049127287</c:v>
                </c:pt>
                <c:pt idx="1241">
                  <c:v>1.2589742368421435</c:v>
                </c:pt>
                <c:pt idx="1242">
                  <c:v>1.3373793986427256</c:v>
                </c:pt>
                <c:pt idx="1243">
                  <c:v>1.3353899192966598</c:v>
                </c:pt>
                <c:pt idx="1244">
                  <c:v>1.380151775976534</c:v>
                </c:pt>
                <c:pt idx="1245">
                  <c:v>1.3802215031832612</c:v>
                </c:pt>
                <c:pt idx="1246">
                  <c:v>1.3788596659902062</c:v>
                </c:pt>
                <c:pt idx="1247">
                  <c:v>1.3652806241925863</c:v>
                </c:pt>
                <c:pt idx="1248">
                  <c:v>1.3806399482365652</c:v>
                </c:pt>
                <c:pt idx="1249">
                  <c:v>1.3222301135272483</c:v>
                </c:pt>
                <c:pt idx="1250">
                  <c:v>1.3767558095536712</c:v>
                </c:pt>
                <c:pt idx="1251">
                  <c:v>1.3563562826895441</c:v>
                </c:pt>
                <c:pt idx="1252">
                  <c:v>1.2848382183418376</c:v>
                </c:pt>
                <c:pt idx="1253">
                  <c:v>1.3191234463334607</c:v>
                </c:pt>
                <c:pt idx="1254">
                  <c:v>1.3030090073051221</c:v>
                </c:pt>
                <c:pt idx="1255">
                  <c:v>1.2468451370153892</c:v>
                </c:pt>
                <c:pt idx="1256">
                  <c:v>1.1865573224964279</c:v>
                </c:pt>
                <c:pt idx="1257">
                  <c:v>1.1940906469436396</c:v>
                </c:pt>
                <c:pt idx="1258">
                  <c:v>1.1941997815606775</c:v>
                </c:pt>
                <c:pt idx="1259">
                  <c:v>1.1209179226184722</c:v>
                </c:pt>
                <c:pt idx="1260">
                  <c:v>1.087042451021385</c:v>
                </c:pt>
                <c:pt idx="1261">
                  <c:v>0.94608963179914918</c:v>
                </c:pt>
                <c:pt idx="1262">
                  <c:v>0.95114554588788636</c:v>
                </c:pt>
                <c:pt idx="1263">
                  <c:v>0.92392977901956352</c:v>
                </c:pt>
                <c:pt idx="1264">
                  <c:v>0.91926302880570188</c:v>
                </c:pt>
                <c:pt idx="1265">
                  <c:v>0.90310182328783206</c:v>
                </c:pt>
                <c:pt idx="1266">
                  <c:v>0.85515602550469638</c:v>
                </c:pt>
                <c:pt idx="1267">
                  <c:v>0.85515602550469638</c:v>
                </c:pt>
                <c:pt idx="1268">
                  <c:v>0.85752782957442475</c:v>
                </c:pt>
                <c:pt idx="1269">
                  <c:v>0.88380129621018066</c:v>
                </c:pt>
                <c:pt idx="1270">
                  <c:v>0.87581568739065729</c:v>
                </c:pt>
                <c:pt idx="1271">
                  <c:v>0.84297374287862348</c:v>
                </c:pt>
                <c:pt idx="1272">
                  <c:v>0.89059470284253428</c:v>
                </c:pt>
                <c:pt idx="1273">
                  <c:v>0.87487129621804149</c:v>
                </c:pt>
                <c:pt idx="1274">
                  <c:v>0.89519397789781618</c:v>
                </c:pt>
                <c:pt idx="1275">
                  <c:v>1.028501885769908</c:v>
                </c:pt>
                <c:pt idx="1276">
                  <c:v>1.1799191698213176</c:v>
                </c:pt>
                <c:pt idx="1277">
                  <c:v>1.2622088507040736</c:v>
                </c:pt>
                <c:pt idx="1278">
                  <c:v>1.3251965161634001</c:v>
                </c:pt>
                <c:pt idx="1279">
                  <c:v>1.389362815199134</c:v>
                </c:pt>
                <c:pt idx="1280">
                  <c:v>1.3685070744805172</c:v>
                </c:pt>
                <c:pt idx="1281">
                  <c:v>1.4021499620686191</c:v>
                </c:pt>
                <c:pt idx="1282">
                  <c:v>1.4384092916560913</c:v>
                </c:pt>
                <c:pt idx="1283">
                  <c:v>1.4399321967310801</c:v>
                </c:pt>
                <c:pt idx="1284">
                  <c:v>1.4136415265516913</c:v>
                </c:pt>
                <c:pt idx="1285">
                  <c:v>1.4138070315925875</c:v>
                </c:pt>
                <c:pt idx="1286">
                  <c:v>1.413877380578608</c:v>
                </c:pt>
                <c:pt idx="1287">
                  <c:v>1.399181865403178</c:v>
                </c:pt>
                <c:pt idx="1288">
                  <c:v>1.3792683895176383</c:v>
                </c:pt>
                <c:pt idx="1289">
                  <c:v>1.3883747750982187</c:v>
                </c:pt>
                <c:pt idx="1290">
                  <c:v>1.380880815985575</c:v>
                </c:pt>
                <c:pt idx="1291">
                  <c:v>1.3626198674706766</c:v>
                </c:pt>
                <c:pt idx="1292">
                  <c:v>1.3277208218014658</c:v>
                </c:pt>
                <c:pt idx="1293">
                  <c:v>1.3516939591267629</c:v>
                </c:pt>
                <c:pt idx="1294">
                  <c:v>1.3462609311064679</c:v>
                </c:pt>
                <c:pt idx="1295">
                  <c:v>1.2949925063095336</c:v>
                </c:pt>
                <c:pt idx="1296">
                  <c:v>1.2875356138721934</c:v>
                </c:pt>
                <c:pt idx="1297">
                  <c:v>1.2925681696213471</c:v>
                </c:pt>
                <c:pt idx="1298">
                  <c:v>1.2082183630880741</c:v>
                </c:pt>
                <c:pt idx="1299">
                  <c:v>1.2358919986220738</c:v>
                </c:pt>
                <c:pt idx="1300">
                  <c:v>1.2535262091353521</c:v>
                </c:pt>
                <c:pt idx="1301">
                  <c:v>1.2791458003271647</c:v>
                </c:pt>
                <c:pt idx="1302">
                  <c:v>1.2562907512247719</c:v>
                </c:pt>
                <c:pt idx="1303">
                  <c:v>1.2581437940281752</c:v>
                </c:pt>
                <c:pt idx="1304">
                  <c:v>1.1711719156101623</c:v>
                </c:pt>
                <c:pt idx="1305">
                  <c:v>1.1688625111160302</c:v>
                </c:pt>
                <c:pt idx="1306">
                  <c:v>1.1958299407992035</c:v>
                </c:pt>
                <c:pt idx="1307">
                  <c:v>1.1718204750756194</c:v>
                </c:pt>
                <c:pt idx="1308">
                  <c:v>1.2082407899303897</c:v>
                </c:pt>
                <c:pt idx="1309">
                  <c:v>1.198430694296611</c:v>
                </c:pt>
                <c:pt idx="1310">
                  <c:v>1.2080092928503914</c:v>
                </c:pt>
                <c:pt idx="1311">
                  <c:v>1.212537107291624</c:v>
                </c:pt>
                <c:pt idx="1312">
                  <c:v>1.1705935448787628</c:v>
                </c:pt>
                <c:pt idx="1313">
                  <c:v>1.1690369163666121</c:v>
                </c:pt>
                <c:pt idx="1314">
                  <c:v>1.1954600500153889</c:v>
                </c:pt>
                <c:pt idx="1315">
                  <c:v>1.1947319850615168</c:v>
                </c:pt>
                <c:pt idx="1316">
                  <c:v>1.2027073402272723</c:v>
                </c:pt>
                <c:pt idx="1317">
                  <c:v>1.192201180973236</c:v>
                </c:pt>
                <c:pt idx="1318">
                  <c:v>1.1943800299376992</c:v>
                </c:pt>
                <c:pt idx="1319">
                  <c:v>1.2041458847780686</c:v>
                </c:pt>
                <c:pt idx="1320">
                  <c:v>1.1946829335970099</c:v>
                </c:pt>
                <c:pt idx="1321">
                  <c:v>1.1630766577607676</c:v>
                </c:pt>
                <c:pt idx="1322">
                  <c:v>1.1653394908919283</c:v>
                </c:pt>
                <c:pt idx="1323">
                  <c:v>1.2137632760643986</c:v>
                </c:pt>
                <c:pt idx="1324">
                  <c:v>1.2043527686678228</c:v>
                </c:pt>
                <c:pt idx="1325">
                  <c:v>1.2020327764661516</c:v>
                </c:pt>
                <c:pt idx="1326">
                  <c:v>1.2010673568534473</c:v>
                </c:pt>
                <c:pt idx="1327">
                  <c:v>1.171244627946965</c:v>
                </c:pt>
                <c:pt idx="1328">
                  <c:v>1.1556109030031629</c:v>
                </c:pt>
                <c:pt idx="1329">
                  <c:v>1.1863713538548173</c:v>
                </c:pt>
                <c:pt idx="1330">
                  <c:v>1.1704909364271323</c:v>
                </c:pt>
                <c:pt idx="1331">
                  <c:v>1.1709248251858697</c:v>
                </c:pt>
                <c:pt idx="1332">
                  <c:v>1.1225769126127541</c:v>
                </c:pt>
                <c:pt idx="1333">
                  <c:v>1.133412773939412</c:v>
                </c:pt>
                <c:pt idx="1334">
                  <c:v>1.1215102145278584</c:v>
                </c:pt>
                <c:pt idx="1335">
                  <c:v>1.0894462438686776</c:v>
                </c:pt>
                <c:pt idx="1336">
                  <c:v>1.0959017497756312</c:v>
                </c:pt>
                <c:pt idx="1337">
                  <c:v>1.0837149369258177</c:v>
                </c:pt>
                <c:pt idx="1338">
                  <c:v>1.087469688120384</c:v>
                </c:pt>
                <c:pt idx="1339">
                  <c:v>1.1154979600719721</c:v>
                </c:pt>
                <c:pt idx="1340">
                  <c:v>1.1321466905981123</c:v>
                </c:pt>
                <c:pt idx="1341">
                  <c:v>1.1518719686918617</c:v>
                </c:pt>
                <c:pt idx="1342">
                  <c:v>1.1825125428419334</c:v>
                </c:pt>
                <c:pt idx="1343">
                  <c:v>1.2126166499701985</c:v>
                </c:pt>
                <c:pt idx="1344">
                  <c:v>1.2224150255226973</c:v>
                </c:pt>
                <c:pt idx="1345">
                  <c:v>1.1792853677098789</c:v>
                </c:pt>
                <c:pt idx="1346">
                  <c:v>1.1811776518209658</c:v>
                </c:pt>
                <c:pt idx="1347">
                  <c:v>1.1798416150310771</c:v>
                </c:pt>
                <c:pt idx="1348">
                  <c:v>1.1902362646094258</c:v>
                </c:pt>
                <c:pt idx="1349">
                  <c:v>1.1810982678336168</c:v>
                </c:pt>
                <c:pt idx="1350">
                  <c:v>1.187350262206267</c:v>
                </c:pt>
                <c:pt idx="1351">
                  <c:v>1.1893373053118499</c:v>
                </c:pt>
                <c:pt idx="1352">
                  <c:v>1.2268308679254141</c:v>
                </c:pt>
                <c:pt idx="1353">
                  <c:v>1.2547379454802334</c:v>
                </c:pt>
                <c:pt idx="1354">
                  <c:v>1.2169847279062254</c:v>
                </c:pt>
                <c:pt idx="1355">
                  <c:v>1.2516828242302915</c:v>
                </c:pt>
                <c:pt idx="1356">
                  <c:v>1.26611937808798</c:v>
                </c:pt>
                <c:pt idx="1357">
                  <c:v>1.2588833591035979</c:v>
                </c:pt>
                <c:pt idx="1358">
                  <c:v>1.2760229714452302</c:v>
                </c:pt>
                <c:pt idx="1359">
                  <c:v>1.2431512161585814</c:v>
                </c:pt>
                <c:pt idx="1360">
                  <c:v>1.2307338487470043</c:v>
                </c:pt>
                <c:pt idx="1361">
                  <c:v>1.223016366308344</c:v>
                </c:pt>
                <c:pt idx="1362">
                  <c:v>1.192687216205039</c:v>
                </c:pt>
                <c:pt idx="1363">
                  <c:v>1.2008074344471962</c:v>
                </c:pt>
                <c:pt idx="1364">
                  <c:v>1.1700190238321053</c:v>
                </c:pt>
                <c:pt idx="1365">
                  <c:v>1.1840233941309874</c:v>
                </c:pt>
                <c:pt idx="1366">
                  <c:v>1.1950072659157343</c:v>
                </c:pt>
                <c:pt idx="1367">
                  <c:v>1.2160478025408856</c:v>
                </c:pt>
                <c:pt idx="1368">
                  <c:v>1.2359066151171467</c:v>
                </c:pt>
                <c:pt idx="1369">
                  <c:v>1.236830757452549</c:v>
                </c:pt>
                <c:pt idx="1370">
                  <c:v>1.1705689270193473</c:v>
                </c:pt>
                <c:pt idx="1371">
                  <c:v>1.2141702773357581</c:v>
                </c:pt>
                <c:pt idx="1372">
                  <c:v>1.1539392093714169</c:v>
                </c:pt>
                <c:pt idx="1373">
                  <c:v>1.1563794071728073</c:v>
                </c:pt>
                <c:pt idx="1374">
                  <c:v>1.1029686237360681</c:v>
                </c:pt>
                <c:pt idx="1375">
                  <c:v>1.0866904476585126</c:v>
                </c:pt>
                <c:pt idx="1376">
                  <c:v>1.1600508887614065</c:v>
                </c:pt>
                <c:pt idx="1377">
                  <c:v>1.1994426124851332</c:v>
                </c:pt>
                <c:pt idx="1378">
                  <c:v>1.2000491925400929</c:v>
                </c:pt>
                <c:pt idx="1379">
                  <c:v>1.2345805086174269</c:v>
                </c:pt>
                <c:pt idx="1380">
                  <c:v>1.2548678549286907</c:v>
                </c:pt>
                <c:pt idx="1381">
                  <c:v>1.2465210081085332</c:v>
                </c:pt>
                <c:pt idx="1382">
                  <c:v>1.2640826500812987</c:v>
                </c:pt>
                <c:pt idx="1383">
                  <c:v>1.2352094419941089</c:v>
                </c:pt>
                <c:pt idx="1384">
                  <c:v>1.2155193588865449</c:v>
                </c:pt>
                <c:pt idx="1385">
                  <c:v>1.2319307339835845</c:v>
                </c:pt>
                <c:pt idx="1386">
                  <c:v>1.2455892072100978</c:v>
                </c:pt>
                <c:pt idx="1387">
                  <c:v>1.2597611994222921</c:v>
                </c:pt>
                <c:pt idx="1388">
                  <c:v>1.2563064142364364</c:v>
                </c:pt>
                <c:pt idx="1389">
                  <c:v>1.2450946330144108</c:v>
                </c:pt>
                <c:pt idx="1390">
                  <c:v>1.2605498032412734</c:v>
                </c:pt>
                <c:pt idx="1391">
                  <c:v>1.2904805306551506</c:v>
                </c:pt>
                <c:pt idx="1392">
                  <c:v>1.270760249969767</c:v>
                </c:pt>
                <c:pt idx="1393">
                  <c:v>1.264845096555135</c:v>
                </c:pt>
                <c:pt idx="1394">
                  <c:v>1.2466873093570126</c:v>
                </c:pt>
                <c:pt idx="1395">
                  <c:v>1.2989006104005509</c:v>
                </c:pt>
                <c:pt idx="1396">
                  <c:v>1.2734437265663456</c:v>
                </c:pt>
                <c:pt idx="1397">
                  <c:v>1.2432582928722811</c:v>
                </c:pt>
                <c:pt idx="1398">
                  <c:v>1.209481182649319</c:v>
                </c:pt>
                <c:pt idx="1399">
                  <c:v>1.2296816617512483</c:v>
                </c:pt>
                <c:pt idx="1400">
                  <c:v>1.2323066054730343</c:v>
                </c:pt>
                <c:pt idx="1401">
                  <c:v>1.212700620804213</c:v>
                </c:pt>
                <c:pt idx="1402">
                  <c:v>1.1967059627537258</c:v>
                </c:pt>
                <c:pt idx="1403">
                  <c:v>1.1763671981767581</c:v>
                </c:pt>
                <c:pt idx="1404">
                  <c:v>1.1848951679957953</c:v>
                </c:pt>
                <c:pt idx="1405">
                  <c:v>1.1910334357864558</c:v>
                </c:pt>
                <c:pt idx="1406">
                  <c:v>1.2126312809984383</c:v>
                </c:pt>
                <c:pt idx="1407">
                  <c:v>1.1763189348808167</c:v>
                </c:pt>
                <c:pt idx="1408">
                  <c:v>1.1673028373042249</c:v>
                </c:pt>
                <c:pt idx="1409">
                  <c:v>1.1676363404998635</c:v>
                </c:pt>
                <c:pt idx="1410">
                  <c:v>1.1739930940794479</c:v>
                </c:pt>
                <c:pt idx="1411">
                  <c:v>1.1602243943140005</c:v>
                </c:pt>
                <c:pt idx="1412">
                  <c:v>1.1467191160797814</c:v>
                </c:pt>
                <c:pt idx="1413">
                  <c:v>1.1193494654514518</c:v>
                </c:pt>
                <c:pt idx="1414">
                  <c:v>1.114289589973172</c:v>
                </c:pt>
                <c:pt idx="1415">
                  <c:v>1.0851605104008033</c:v>
                </c:pt>
                <c:pt idx="1416">
                  <c:v>1.0860217427871555</c:v>
                </c:pt>
                <c:pt idx="1417">
                  <c:v>1.0939177889733112</c:v>
                </c:pt>
                <c:pt idx="1418">
                  <c:v>1.0944152462309704</c:v>
                </c:pt>
                <c:pt idx="1419">
                  <c:v>1.0928089484669599</c:v>
                </c:pt>
                <c:pt idx="1420">
                  <c:v>1.1134582377942284</c:v>
                </c:pt>
                <c:pt idx="1421">
                  <c:v>1.1160279026842892</c:v>
                </c:pt>
                <c:pt idx="1422">
                  <c:v>1.0983741650510601</c:v>
                </c:pt>
                <c:pt idx="1423">
                  <c:v>1.0877704335607918</c:v>
                </c:pt>
                <c:pt idx="1424">
                  <c:v>1.0868355960784626</c:v>
                </c:pt>
                <c:pt idx="1425">
                  <c:v>1.1055699644240342</c:v>
                </c:pt>
                <c:pt idx="1426">
                  <c:v>1.0810456904988972</c:v>
                </c:pt>
                <c:pt idx="1427">
                  <c:v>1.0811659377478728</c:v>
                </c:pt>
                <c:pt idx="1428">
                  <c:v>1.1147213355426457</c:v>
                </c:pt>
                <c:pt idx="1429">
                  <c:v>1.1152793179241014</c:v>
                </c:pt>
                <c:pt idx="1430">
                  <c:v>1.1194298664080986</c:v>
                </c:pt>
                <c:pt idx="1431">
                  <c:v>1.1058992351383425</c:v>
                </c:pt>
                <c:pt idx="1432">
                  <c:v>1.1329745795248292</c:v>
                </c:pt>
                <c:pt idx="1433">
                  <c:v>1.1442077599148959</c:v>
                </c:pt>
                <c:pt idx="1434">
                  <c:v>1.1292060204228196</c:v>
                </c:pt>
                <c:pt idx="1435">
                  <c:v>1.13315735509145</c:v>
                </c:pt>
                <c:pt idx="1436">
                  <c:v>1.1501519301229697</c:v>
                </c:pt>
                <c:pt idx="1437">
                  <c:v>1.1117753892441735</c:v>
                </c:pt>
                <c:pt idx="1438">
                  <c:v>1.1126686896391158</c:v>
                </c:pt>
                <c:pt idx="1439">
                  <c:v>1.1056995061269872</c:v>
                </c:pt>
                <c:pt idx="1440">
                  <c:v>1.0995605182677914</c:v>
                </c:pt>
                <c:pt idx="1441">
                  <c:v>1.0551933013556365</c:v>
                </c:pt>
                <c:pt idx="1442">
                  <c:v>1.0470350355128519</c:v>
                </c:pt>
                <c:pt idx="1443">
                  <c:v>1.0964236093694792</c:v>
                </c:pt>
                <c:pt idx="1444">
                  <c:v>1.1094934424883871</c:v>
                </c:pt>
                <c:pt idx="1445">
                  <c:v>1.1194542641226422</c:v>
                </c:pt>
                <c:pt idx="1446">
                  <c:v>1.1535463784832531</c:v>
                </c:pt>
                <c:pt idx="1447">
                  <c:v>1.1538977424364782</c:v>
                </c:pt>
                <c:pt idx="1448">
                  <c:v>1.1275825316097261</c:v>
                </c:pt>
                <c:pt idx="1449">
                  <c:v>1.0950619366781456</c:v>
                </c:pt>
                <c:pt idx="1450">
                  <c:v>1.1498027881392983</c:v>
                </c:pt>
                <c:pt idx="1451">
                  <c:v>1.1167475817257557</c:v>
                </c:pt>
                <c:pt idx="1452">
                  <c:v>1.0896356301312902</c:v>
                </c:pt>
                <c:pt idx="1453">
                  <c:v>1.0724048946477802</c:v>
                </c:pt>
                <c:pt idx="1454">
                  <c:v>1.0807394919509357</c:v>
                </c:pt>
                <c:pt idx="1455">
                  <c:v>1.0835430731622304</c:v>
                </c:pt>
                <c:pt idx="1456">
                  <c:v>1.0677615012988222</c:v>
                </c:pt>
                <c:pt idx="1457">
                  <c:v>1.0815416118044265</c:v>
                </c:pt>
                <c:pt idx="1458">
                  <c:v>1.0881554877826045</c:v>
                </c:pt>
                <c:pt idx="1459">
                  <c:v>1.0558834653848495</c:v>
                </c:pt>
                <c:pt idx="1460">
                  <c:v>1.0447519641841632</c:v>
                </c:pt>
                <c:pt idx="1461">
                  <c:v>1.0326724907337659</c:v>
                </c:pt>
                <c:pt idx="1462">
                  <c:v>1.0338727693608176</c:v>
                </c:pt>
                <c:pt idx="1463">
                  <c:v>1.0406590137003087</c:v>
                </c:pt>
                <c:pt idx="1464">
                  <c:v>1.0335336607759757</c:v>
                </c:pt>
                <c:pt idx="1465">
                  <c:v>1.0744498967588767</c:v>
                </c:pt>
                <c:pt idx="1466">
                  <c:v>1.062676474907853</c:v>
                </c:pt>
                <c:pt idx="1467">
                  <c:v>1.0883596219387537</c:v>
                </c:pt>
                <c:pt idx="1468">
                  <c:v>1.1158171700548651</c:v>
                </c:pt>
                <c:pt idx="1469">
                  <c:v>1.1097750425925477</c:v>
                </c:pt>
                <c:pt idx="1470">
                  <c:v>1.1147140044997901</c:v>
                </c:pt>
                <c:pt idx="1471">
                  <c:v>1.1065108388800993</c:v>
                </c:pt>
                <c:pt idx="1472">
                  <c:v>1.0844881851158703</c:v>
                </c:pt>
                <c:pt idx="1473">
                  <c:v>1.079068993379533</c:v>
                </c:pt>
                <c:pt idx="1474">
                  <c:v>1.0715498774135277</c:v>
                </c:pt>
                <c:pt idx="1475">
                  <c:v>1.0594454828743176</c:v>
                </c:pt>
                <c:pt idx="1476">
                  <c:v>1.0553875097322902</c:v>
                </c:pt>
                <c:pt idx="1477">
                  <c:v>1.0458229254505034</c:v>
                </c:pt>
                <c:pt idx="1478">
                  <c:v>1.0589550540280794</c:v>
                </c:pt>
                <c:pt idx="1479">
                  <c:v>1.0381418470631338</c:v>
                </c:pt>
                <c:pt idx="1480">
                  <c:v>1.0316010106437905</c:v>
                </c:pt>
                <c:pt idx="1481">
                  <c:v>1.0400896363356873</c:v>
                </c:pt>
                <c:pt idx="1482">
                  <c:v>1.0641397151376941</c:v>
                </c:pt>
                <c:pt idx="1483">
                  <c:v>1.0637855916237235</c:v>
                </c:pt>
                <c:pt idx="1484">
                  <c:v>1.1253318745849992</c:v>
                </c:pt>
                <c:pt idx="1485">
                  <c:v>1.1633972315076089</c:v>
                </c:pt>
                <c:pt idx="1486">
                  <c:v>1.1581136869184976</c:v>
                </c:pt>
                <c:pt idx="1487">
                  <c:v>1.1945052514321248</c:v>
                </c:pt>
                <c:pt idx="1488">
                  <c:v>1.1536601873849111</c:v>
                </c:pt>
                <c:pt idx="1489">
                  <c:v>1.1680525102351631</c:v>
                </c:pt>
                <c:pt idx="1490">
                  <c:v>1.157961872828605</c:v>
                </c:pt>
                <c:pt idx="1491">
                  <c:v>1.20105213731925</c:v>
                </c:pt>
                <c:pt idx="1492">
                  <c:v>1.1927429307796087</c:v>
                </c:pt>
                <c:pt idx="1493">
                  <c:v>1.1917981354654503</c:v>
                </c:pt>
                <c:pt idx="1494">
                  <c:v>1.1668229081247636</c:v>
                </c:pt>
                <c:pt idx="1495">
                  <c:v>1.1455237802781726</c:v>
                </c:pt>
                <c:pt idx="1496">
                  <c:v>1.164985578386901</c:v>
                </c:pt>
                <c:pt idx="1497">
                  <c:v>1.2063912238350527</c:v>
                </c:pt>
                <c:pt idx="1498">
                  <c:v>1.1789920973405199</c:v>
                </c:pt>
                <c:pt idx="1499">
                  <c:v>1.1745661290016198</c:v>
                </c:pt>
                <c:pt idx="1500">
                  <c:v>1.1873407533291058</c:v>
                </c:pt>
                <c:pt idx="1501">
                  <c:v>1.183952374805022</c:v>
                </c:pt>
                <c:pt idx="1502">
                  <c:v>1.1806096475062984</c:v>
                </c:pt>
                <c:pt idx="1503">
                  <c:v>1.1810740510139464</c:v>
                </c:pt>
                <c:pt idx="1504">
                  <c:v>1.2028268674744007</c:v>
                </c:pt>
                <c:pt idx="1505">
                  <c:v>1.2052434724805561</c:v>
                </c:pt>
                <c:pt idx="1506">
                  <c:v>1.2107092917985356</c:v>
                </c:pt>
                <c:pt idx="1507">
                  <c:v>1.204943669767109</c:v>
                </c:pt>
                <c:pt idx="1508">
                  <c:v>1.1525658146020328</c:v>
                </c:pt>
                <c:pt idx="1509">
                  <c:v>1.167471212603576</c:v>
                </c:pt>
                <c:pt idx="1510">
                  <c:v>1.2154343442413045</c:v>
                </c:pt>
                <c:pt idx="1511">
                  <c:v>1.2203102020581946</c:v>
                </c:pt>
                <c:pt idx="1512">
                  <c:v>1.1812837012317146</c:v>
                </c:pt>
                <c:pt idx="1513">
                  <c:v>1.2020825119730334</c:v>
                </c:pt>
                <c:pt idx="1514">
                  <c:v>1.2070122180921183</c:v>
                </c:pt>
                <c:pt idx="1515">
                  <c:v>1.1422419004483182</c:v>
                </c:pt>
                <c:pt idx="1516">
                  <c:v>1.0953658003421234</c:v>
                </c:pt>
                <c:pt idx="1517">
                  <c:v>1.0962952274850293</c:v>
                </c:pt>
                <c:pt idx="1518">
                  <c:v>1.059848234215585</c:v>
                </c:pt>
                <c:pt idx="1519">
                  <c:v>1.0634454048197579</c:v>
                </c:pt>
                <c:pt idx="1520">
                  <c:v>1.0525579696956806</c:v>
                </c:pt>
                <c:pt idx="1521">
                  <c:v>1.0412956156345736</c:v>
                </c:pt>
                <c:pt idx="1522">
                  <c:v>0.98829743901165212</c:v>
                </c:pt>
                <c:pt idx="1523">
                  <c:v>0.97502169813187123</c:v>
                </c:pt>
                <c:pt idx="1524">
                  <c:v>0.98247197557777699</c:v>
                </c:pt>
                <c:pt idx="1525">
                  <c:v>0.98173447563236871</c:v>
                </c:pt>
                <c:pt idx="1526">
                  <c:v>0.99069835258087113</c:v>
                </c:pt>
                <c:pt idx="1527">
                  <c:v>0.9654719721629722</c:v>
                </c:pt>
                <c:pt idx="1528">
                  <c:v>0.95068294636862472</c:v>
                </c:pt>
                <c:pt idx="1529">
                  <c:v>0.94812968125310715</c:v>
                </c:pt>
                <c:pt idx="1530">
                  <c:v>0.89558162755435267</c:v>
                </c:pt>
                <c:pt idx="1531">
                  <c:v>0.96489277358477987</c:v>
                </c:pt>
                <c:pt idx="1532">
                  <c:v>0.96311334318861852</c:v>
                </c:pt>
                <c:pt idx="1533">
                  <c:v>0.967305869495937</c:v>
                </c:pt>
                <c:pt idx="1534">
                  <c:v>0.97112881884727298</c:v>
                </c:pt>
                <c:pt idx="1535">
                  <c:v>0.95819566098536646</c:v>
                </c:pt>
                <c:pt idx="1536">
                  <c:v>0.95924813747398674</c:v>
                </c:pt>
                <c:pt idx="1537">
                  <c:v>0.96891825281865851</c:v>
                </c:pt>
                <c:pt idx="1538">
                  <c:v>1.0344562750286921</c:v>
                </c:pt>
                <c:pt idx="1539">
                  <c:v>1.0352776366493368</c:v>
                </c:pt>
                <c:pt idx="1540">
                  <c:v>1.003424030480752</c:v>
                </c:pt>
                <c:pt idx="1541">
                  <c:v>0.94476099270309288</c:v>
                </c:pt>
                <c:pt idx="1542">
                  <c:v>0.93793298245124779</c:v>
                </c:pt>
                <c:pt idx="1543">
                  <c:v>0.97561384040582255</c:v>
                </c:pt>
                <c:pt idx="1544">
                  <c:v>0.93162708862401822</c:v>
                </c:pt>
                <c:pt idx="1545">
                  <c:v>0.96936471825069392</c:v>
                </c:pt>
                <c:pt idx="1546">
                  <c:v>0.98430467789436571</c:v>
                </c:pt>
                <c:pt idx="1547">
                  <c:v>0.99325185492493706</c:v>
                </c:pt>
                <c:pt idx="1548">
                  <c:v>1.0030789160519511</c:v>
                </c:pt>
                <c:pt idx="1549">
                  <c:v>1.0396747837251699</c:v>
                </c:pt>
                <c:pt idx="1550">
                  <c:v>1.0412388196614129</c:v>
                </c:pt>
                <c:pt idx="1551">
                  <c:v>1.0407959113256824</c:v>
                </c:pt>
                <c:pt idx="1552">
                  <c:v>1.0416633720378004</c:v>
                </c:pt>
                <c:pt idx="1553">
                  <c:v>1.0633067715022699</c:v>
                </c:pt>
                <c:pt idx="1554">
                  <c:v>1.0807935157355051</c:v>
                </c:pt>
                <c:pt idx="1555">
                  <c:v>1.0811548982354446</c:v>
                </c:pt>
                <c:pt idx="1556">
                  <c:v>1.0840346778566166</c:v>
                </c:pt>
                <c:pt idx="1557">
                  <c:v>1.0682555370664446</c:v>
                </c:pt>
                <c:pt idx="1558">
                  <c:v>1.0420100509287609</c:v>
                </c:pt>
                <c:pt idx="1559">
                  <c:v>1.0504827359336388</c:v>
                </c:pt>
                <c:pt idx="1560">
                  <c:v>1.0317773578292131</c:v>
                </c:pt>
                <c:pt idx="1561">
                  <c:v>1.0444916446285841</c:v>
                </c:pt>
                <c:pt idx="1562">
                  <c:v>1.0284208585815395</c:v>
                </c:pt>
                <c:pt idx="1563">
                  <c:v>1.0243475762597609</c:v>
                </c:pt>
                <c:pt idx="1564">
                  <c:v>1.0542119311120151</c:v>
                </c:pt>
                <c:pt idx="1565">
                  <c:v>1.0705294640192451</c:v>
                </c:pt>
                <c:pt idx="1566">
                  <c:v>1.045651620678683</c:v>
                </c:pt>
                <c:pt idx="1567">
                  <c:v>1.0256272143404241</c:v>
                </c:pt>
                <c:pt idx="1568">
                  <c:v>1.0440653586429727</c:v>
                </c:pt>
                <c:pt idx="1569">
                  <c:v>1.031075020997372</c:v>
                </c:pt>
                <c:pt idx="1570">
                  <c:v>1.058147498712849</c:v>
                </c:pt>
                <c:pt idx="1571">
                  <c:v>1.1010530638722034</c:v>
                </c:pt>
                <c:pt idx="1572">
                  <c:v>1.1263451217692269</c:v>
                </c:pt>
                <c:pt idx="1573">
                  <c:v>1.1363529665188234</c:v>
                </c:pt>
                <c:pt idx="1574">
                  <c:v>1.1088996774387019</c:v>
                </c:pt>
                <c:pt idx="1575">
                  <c:v>1.1446827047805244</c:v>
                </c:pt>
                <c:pt idx="1576">
                  <c:v>1.1181031364126994</c:v>
                </c:pt>
                <c:pt idx="1577">
                  <c:v>1.099916614630303</c:v>
                </c:pt>
                <c:pt idx="1578">
                  <c:v>1.1247458972289408</c:v>
                </c:pt>
                <c:pt idx="1579">
                  <c:v>1.144295811067142</c:v>
                </c:pt>
                <c:pt idx="1580">
                  <c:v>1.1651796667956325</c:v>
                </c:pt>
                <c:pt idx="1581">
                  <c:v>1.2163817312542287</c:v>
                </c:pt>
                <c:pt idx="1582">
                  <c:v>1.2445152789620122</c:v>
                </c:pt>
                <c:pt idx="1583">
                  <c:v>1.2440322057857909</c:v>
                </c:pt>
                <c:pt idx="1584">
                  <c:v>1.2441431823003808</c:v>
                </c:pt>
                <c:pt idx="1585">
                  <c:v>1.2642855945221125</c:v>
                </c:pt>
                <c:pt idx="1586">
                  <c:v>1.2613152377705821</c:v>
                </c:pt>
                <c:pt idx="1587">
                  <c:v>1.2725346816998877</c:v>
                </c:pt>
                <c:pt idx="1588">
                  <c:v>1.2942970026940486</c:v>
                </c:pt>
                <c:pt idx="1589">
                  <c:v>1.3448339226721993</c:v>
                </c:pt>
                <c:pt idx="1590">
                  <c:v>1.3663196779544651</c:v>
                </c:pt>
                <c:pt idx="1591">
                  <c:v>1.3656181396077778</c:v>
                </c:pt>
                <c:pt idx="1592">
                  <c:v>1.3615865192716792</c:v>
                </c:pt>
                <c:pt idx="1593">
                  <c:v>1.3226808065928204</c:v>
                </c:pt>
                <c:pt idx="1594">
                  <c:v>1.3594918405478318</c:v>
                </c:pt>
                <c:pt idx="1595">
                  <c:v>1.3841063263278028</c:v>
                </c:pt>
                <c:pt idx="1596">
                  <c:v>1.3775576798415099</c:v>
                </c:pt>
                <c:pt idx="1597">
                  <c:v>1.3923289841125916</c:v>
                </c:pt>
                <c:pt idx="1598">
                  <c:v>1.3895931948997986</c:v>
                </c:pt>
                <c:pt idx="1599">
                  <c:v>1.4157582413143366</c:v>
                </c:pt>
                <c:pt idx="1600">
                  <c:v>1.4341703232632566</c:v>
                </c:pt>
                <c:pt idx="1601">
                  <c:v>1.4050634241223605</c:v>
                </c:pt>
                <c:pt idx="1602">
                  <c:v>1.3792822662140167</c:v>
                </c:pt>
                <c:pt idx="1603">
                  <c:v>1.3810103049454743</c:v>
                </c:pt>
                <c:pt idx="1604">
                  <c:v>1.3814116980719009</c:v>
                </c:pt>
                <c:pt idx="1605">
                  <c:v>1.3964725915408192</c:v>
                </c:pt>
                <c:pt idx="1606">
                  <c:v>1.3827062447026792</c:v>
                </c:pt>
                <c:pt idx="1607">
                  <c:v>1.3907959351872348</c:v>
                </c:pt>
                <c:pt idx="1608">
                  <c:v>1.3936875353667189</c:v>
                </c:pt>
                <c:pt idx="1609">
                  <c:v>1.3727041047289787</c:v>
                </c:pt>
                <c:pt idx="1610">
                  <c:v>1.3863860344648387</c:v>
                </c:pt>
                <c:pt idx="1611">
                  <c:v>1.3661588093897132</c:v>
                </c:pt>
                <c:pt idx="1612">
                  <c:v>1.3687216388773809</c:v>
                </c:pt>
                <c:pt idx="1613">
                  <c:v>1.3486581941808617</c:v>
                </c:pt>
                <c:pt idx="1614">
                  <c:v>1.3615357394840848</c:v>
                </c:pt>
                <c:pt idx="1615">
                  <c:v>1.3345473236793761</c:v>
                </c:pt>
                <c:pt idx="1616">
                  <c:v>1.3004773317219263</c:v>
                </c:pt>
                <c:pt idx="1617">
                  <c:v>1.309340636819085</c:v>
                </c:pt>
                <c:pt idx="1618">
                  <c:v>1.3114531872566371</c:v>
                </c:pt>
                <c:pt idx="1619">
                  <c:v>1.3162634471736998</c:v>
                </c:pt>
                <c:pt idx="1620">
                  <c:v>1.3018702840756216</c:v>
                </c:pt>
                <c:pt idx="1621">
                  <c:v>1.2672909893204889</c:v>
                </c:pt>
                <c:pt idx="1622">
                  <c:v>1.2782558681719907</c:v>
                </c:pt>
                <c:pt idx="1623">
                  <c:v>1.2751207406460798</c:v>
                </c:pt>
                <c:pt idx="1624">
                  <c:v>1.2930628804908237</c:v>
                </c:pt>
                <c:pt idx="1625">
                  <c:v>1.2748082714793858</c:v>
                </c:pt>
                <c:pt idx="1626">
                  <c:v>1.2574662183623788</c:v>
                </c:pt>
                <c:pt idx="1627">
                  <c:v>1.264957137273744</c:v>
                </c:pt>
                <c:pt idx="1628">
                  <c:v>1.26058443520439</c:v>
                </c:pt>
                <c:pt idx="1629">
                  <c:v>1.2525626205022926</c:v>
                </c:pt>
                <c:pt idx="1630">
                  <c:v>1.2452832298640524</c:v>
                </c:pt>
                <c:pt idx="1631">
                  <c:v>1.1995085014960465</c:v>
                </c:pt>
                <c:pt idx="1632">
                  <c:v>1.2041000744320687</c:v>
                </c:pt>
                <c:pt idx="1633">
                  <c:v>1.1909231081234282</c:v>
                </c:pt>
                <c:pt idx="1634">
                  <c:v>1.1857697468198112</c:v>
                </c:pt>
                <c:pt idx="1635">
                  <c:v>1.1839278530764972</c:v>
                </c:pt>
                <c:pt idx="1636">
                  <c:v>1.1399109567186871</c:v>
                </c:pt>
                <c:pt idx="1637">
                  <c:v>1.1127759534518376</c:v>
                </c:pt>
                <c:pt idx="1638">
                  <c:v>1.0542812870662486</c:v>
                </c:pt>
                <c:pt idx="1639">
                  <c:v>1.0603222273471646</c:v>
                </c:pt>
                <c:pt idx="1640">
                  <c:v>1.0135035581415546</c:v>
                </c:pt>
                <c:pt idx="1641">
                  <c:v>1.0585625270412298</c:v>
                </c:pt>
                <c:pt idx="1642">
                  <c:v>1.0178948336999845</c:v>
                </c:pt>
                <c:pt idx="1643">
                  <c:v>1.0562876766837617</c:v>
                </c:pt>
                <c:pt idx="1644">
                  <c:v>1.0146539216132573</c:v>
                </c:pt>
                <c:pt idx="1645">
                  <c:v>1.0668887537617158</c:v>
                </c:pt>
                <c:pt idx="1646">
                  <c:v>1.0756765313048349</c:v>
                </c:pt>
                <c:pt idx="1647">
                  <c:v>1.0726686648337083</c:v>
                </c:pt>
                <c:pt idx="1648">
                  <c:v>1.0742673422294129</c:v>
                </c:pt>
                <c:pt idx="1649">
                  <c:v>1.0787183753572267</c:v>
                </c:pt>
                <c:pt idx="1650">
                  <c:v>1.0412580273735677</c:v>
                </c:pt>
                <c:pt idx="1651">
                  <c:v>1.0412580273735677</c:v>
                </c:pt>
                <c:pt idx="1652">
                  <c:v>1.0463418097331771</c:v>
                </c:pt>
                <c:pt idx="1653">
                  <c:v>1.0331341812945407</c:v>
                </c:pt>
                <c:pt idx="1654">
                  <c:v>1.0371659068247332</c:v>
                </c:pt>
                <c:pt idx="1655">
                  <c:v>1.0494661213135692</c:v>
                </c:pt>
                <c:pt idx="1656">
                  <c:v>1.0631034908502865</c:v>
                </c:pt>
                <c:pt idx="1657">
                  <c:v>1.0348293714216805</c:v>
                </c:pt>
                <c:pt idx="1658">
                  <c:v>1.0581268700483324</c:v>
                </c:pt>
                <c:pt idx="1659">
                  <c:v>1.0544989127492015</c:v>
                </c:pt>
                <c:pt idx="1660">
                  <c:v>1.0532061649109603</c:v>
                </c:pt>
                <c:pt idx="1661">
                  <c:v>1.0607097441290543</c:v>
                </c:pt>
                <c:pt idx="1662">
                  <c:v>1.0559915077859909</c:v>
                </c:pt>
                <c:pt idx="1663">
                  <c:v>1.056665886502884</c:v>
                </c:pt>
                <c:pt idx="1664">
                  <c:v>1.0558516920945504</c:v>
                </c:pt>
                <c:pt idx="1665">
                  <c:v>1.0398360085759597</c:v>
                </c:pt>
                <c:pt idx="1666">
                  <c:v>1.0142546391899225</c:v>
                </c:pt>
                <c:pt idx="1667">
                  <c:v>1.0564372058444707</c:v>
                </c:pt>
                <c:pt idx="1668">
                  <c:v>1.0467152923435321</c:v>
                </c:pt>
                <c:pt idx="1669">
                  <c:v>1.0371457939216946</c:v>
                </c:pt>
                <c:pt idx="1670">
                  <c:v>1.0197701617500381</c:v>
                </c:pt>
                <c:pt idx="1671">
                  <c:v>1.0304864703582468</c:v>
                </c:pt>
                <c:pt idx="1672">
                  <c:v>1.0002849056509442</c:v>
                </c:pt>
                <c:pt idx="1673">
                  <c:v>1.0506168183142375</c:v>
                </c:pt>
                <c:pt idx="1674">
                  <c:v>1.0056340213746933</c:v>
                </c:pt>
                <c:pt idx="1675">
                  <c:v>1.01455366530556</c:v>
                </c:pt>
                <c:pt idx="1676">
                  <c:v>0.98006605000152502</c:v>
                </c:pt>
                <c:pt idx="1677">
                  <c:v>1.0059010832320003</c:v>
                </c:pt>
                <c:pt idx="1678">
                  <c:v>1.0292352312714148</c:v>
                </c:pt>
                <c:pt idx="1679">
                  <c:v>1.0291692024695587</c:v>
                </c:pt>
                <c:pt idx="1680">
                  <c:v>1.036748432276585</c:v>
                </c:pt>
                <c:pt idx="1681">
                  <c:v>1.0541255357694785</c:v>
                </c:pt>
                <c:pt idx="1682">
                  <c:v>1.0366447115885538</c:v>
                </c:pt>
                <c:pt idx="1683">
                  <c:v>1.0381994338835523</c:v>
                </c:pt>
                <c:pt idx="1684">
                  <c:v>1.0773038828083645</c:v>
                </c:pt>
                <c:pt idx="1685">
                  <c:v>1.0987665616450324</c:v>
                </c:pt>
                <c:pt idx="1686">
                  <c:v>1.0602277093619674</c:v>
                </c:pt>
                <c:pt idx="1687">
                  <c:v>1.0690943810996876</c:v>
                </c:pt>
                <c:pt idx="1688">
                  <c:v>1.0992448043020016</c:v>
                </c:pt>
                <c:pt idx="1689">
                  <c:v>1.0973486130189543</c:v>
                </c:pt>
                <c:pt idx="1690">
                  <c:v>1.0942411324356154</c:v>
                </c:pt>
                <c:pt idx="1691">
                  <c:v>1.0956806692792647</c:v>
                </c:pt>
                <c:pt idx="1692">
                  <c:v>1.1011262074490744</c:v>
                </c:pt>
                <c:pt idx="1693">
                  <c:v>1.1481338762746534</c:v>
                </c:pt>
                <c:pt idx="1694">
                  <c:v>1.1739073620280496</c:v>
                </c:pt>
                <c:pt idx="1695">
                  <c:v>1.2112803143781372</c:v>
                </c:pt>
                <c:pt idx="1696">
                  <c:v>1.1934381524217803</c:v>
                </c:pt>
                <c:pt idx="1697">
                  <c:v>1.1985719100896335</c:v>
                </c:pt>
                <c:pt idx="1698">
                  <c:v>1.1717557821078695</c:v>
                </c:pt>
                <c:pt idx="1699">
                  <c:v>1.2445829288025232</c:v>
                </c:pt>
                <c:pt idx="1700">
                  <c:v>1.3370489089581714</c:v>
                </c:pt>
                <c:pt idx="1701">
                  <c:v>1.3366496392340499</c:v>
                </c:pt>
                <c:pt idx="1702">
                  <c:v>1.3547776867977863</c:v>
                </c:pt>
                <c:pt idx="1703">
                  <c:v>1.3562368080722085</c:v>
                </c:pt>
                <c:pt idx="1704">
                  <c:v>1.3670976241580173</c:v>
                </c:pt>
                <c:pt idx="1705">
                  <c:v>1.3888732959698176</c:v>
                </c:pt>
                <c:pt idx="1706">
                  <c:v>1.3669463652943366</c:v>
                </c:pt>
                <c:pt idx="1707">
                  <c:v>1.3703380008447332</c:v>
                </c:pt>
                <c:pt idx="1708">
                  <c:v>1.3507094113755536</c:v>
                </c:pt>
                <c:pt idx="1709">
                  <c:v>1.3967130384685169</c:v>
                </c:pt>
                <c:pt idx="1710">
                  <c:v>1.3963158129385935</c:v>
                </c:pt>
                <c:pt idx="1711">
                  <c:v>1.382033642588816</c:v>
                </c:pt>
                <c:pt idx="1712">
                  <c:v>1.3870769916068688</c:v>
                </c:pt>
                <c:pt idx="1713">
                  <c:v>1.3864489334848544</c:v>
                </c:pt>
                <c:pt idx="1714">
                  <c:v>1.3841261363366859</c:v>
                </c:pt>
                <c:pt idx="1715">
                  <c:v>1.376381026890009</c:v>
                </c:pt>
                <c:pt idx="1716">
                  <c:v>1.3716778047340417</c:v>
                </c:pt>
                <c:pt idx="1717">
                  <c:v>1.3506306770566305</c:v>
                </c:pt>
                <c:pt idx="1718">
                  <c:v>1.3960149889819831</c:v>
                </c:pt>
                <c:pt idx="1719">
                  <c:v>1.3075013517951852</c:v>
                </c:pt>
                <c:pt idx="1720">
                  <c:v>1.319495912220114</c:v>
                </c:pt>
                <c:pt idx="1721">
                  <c:v>1.3236626442182784</c:v>
                </c:pt>
                <c:pt idx="1722">
                  <c:v>1.2985831816136741</c:v>
                </c:pt>
                <c:pt idx="1723">
                  <c:v>1.2917768041840498</c:v>
                </c:pt>
                <c:pt idx="1724">
                  <c:v>1.1931117713461432</c:v>
                </c:pt>
                <c:pt idx="1725">
                  <c:v>1.1036471307656777</c:v>
                </c:pt>
                <c:pt idx="1726">
                  <c:v>0.9854345692751908</c:v>
                </c:pt>
                <c:pt idx="1727">
                  <c:v>0.97828553124594519</c:v>
                </c:pt>
                <c:pt idx="1728">
                  <c:v>0.91618658004926334</c:v>
                </c:pt>
                <c:pt idx="1729">
                  <c:v>0.85353257082689293</c:v>
                </c:pt>
                <c:pt idx="1730">
                  <c:v>0.85812198045110855</c:v>
                </c:pt>
                <c:pt idx="1731">
                  <c:v>0.83950523063174787</c:v>
                </c:pt>
                <c:pt idx="1732">
                  <c:v>0.85255668622432701</c:v>
                </c:pt>
                <c:pt idx="1733">
                  <c:v>0.86969479258994298</c:v>
                </c:pt>
                <c:pt idx="1734">
                  <c:v>0.86059419332888665</c:v>
                </c:pt>
                <c:pt idx="1735">
                  <c:v>0.85040458429458543</c:v>
                </c:pt>
                <c:pt idx="1736">
                  <c:v>0.86632557390394471</c:v>
                </c:pt>
                <c:pt idx="1737">
                  <c:v>0.85258733352679006</c:v>
                </c:pt>
                <c:pt idx="1738">
                  <c:v>0.87826123431409897</c:v>
                </c:pt>
                <c:pt idx="1739">
                  <c:v>0.89707457644218436</c:v>
                </c:pt>
                <c:pt idx="1740">
                  <c:v>0.87250375110879863</c:v>
                </c:pt>
                <c:pt idx="1741">
                  <c:v>0.87122111806311231</c:v>
                </c:pt>
                <c:pt idx="1742">
                  <c:v>0.98055404571045401</c:v>
                </c:pt>
                <c:pt idx="1743">
                  <c:v>1.0737614520525391</c:v>
                </c:pt>
                <c:pt idx="1744">
                  <c:v>1.0710572608007367</c:v>
                </c:pt>
                <c:pt idx="1745">
                  <c:v>1.0650363212545368</c:v>
                </c:pt>
                <c:pt idx="1746">
                  <c:v>1.0646187666388232</c:v>
                </c:pt>
                <c:pt idx="1747">
                  <c:v>1.1186714470529815</c:v>
                </c:pt>
                <c:pt idx="1748">
                  <c:v>1.1191802875895513</c:v>
                </c:pt>
                <c:pt idx="1749">
                  <c:v>1.1270429479179631</c:v>
                </c:pt>
                <c:pt idx="1750">
                  <c:v>1.1308926914477306</c:v>
                </c:pt>
                <c:pt idx="1751">
                  <c:v>1.1227855146144148</c:v>
                </c:pt>
                <c:pt idx="1752">
                  <c:v>1.1706544442989948</c:v>
                </c:pt>
                <c:pt idx="1753">
                  <c:v>1.2707349494792202</c:v>
                </c:pt>
                <c:pt idx="1754">
                  <c:v>1.2979467656462695</c:v>
                </c:pt>
                <c:pt idx="1755">
                  <c:v>1.2801290257550775</c:v>
                </c:pt>
                <c:pt idx="1756">
                  <c:v>1.2644070394023916</c:v>
                </c:pt>
                <c:pt idx="1757">
                  <c:v>1.264651594674983</c:v>
                </c:pt>
                <c:pt idx="1758">
                  <c:v>1.2480691323559698</c:v>
                </c:pt>
                <c:pt idx="1759">
                  <c:v>1.268880803946397</c:v>
                </c:pt>
                <c:pt idx="1760">
                  <c:v>1.304961747060166</c:v>
                </c:pt>
                <c:pt idx="1761">
                  <c:v>1.3264501093041976</c:v>
                </c:pt>
                <c:pt idx="1762">
                  <c:v>1.3264061720805331</c:v>
                </c:pt>
                <c:pt idx="1763">
                  <c:v>1.3439306017669177</c:v>
                </c:pt>
                <c:pt idx="1764">
                  <c:v>1.356145867118735</c:v>
                </c:pt>
                <c:pt idx="1765">
                  <c:v>1.345663045586845</c:v>
                </c:pt>
                <c:pt idx="1766">
                  <c:v>1.3466555945462002</c:v>
                </c:pt>
                <c:pt idx="1767">
                  <c:v>1.3137720461508193</c:v>
                </c:pt>
                <c:pt idx="1768">
                  <c:v>1.3188522217427161</c:v>
                </c:pt>
                <c:pt idx="1769">
                  <c:v>1.2922991098222232</c:v>
                </c:pt>
                <c:pt idx="1770">
                  <c:v>1.3430375618251031</c:v>
                </c:pt>
                <c:pt idx="1771">
                  <c:v>1.326280189019253</c:v>
                </c:pt>
                <c:pt idx="1772">
                  <c:v>1.3284078108126118</c:v>
                </c:pt>
                <c:pt idx="1773">
                  <c:v>1.3257093049723689</c:v>
                </c:pt>
                <c:pt idx="1774">
                  <c:v>1.2986466901380265</c:v>
                </c:pt>
                <c:pt idx="1775">
                  <c:v>1.2748578668405199</c:v>
                </c:pt>
                <c:pt idx="1776">
                  <c:v>1.2688208902807765</c:v>
                </c:pt>
                <c:pt idx="1777">
                  <c:v>1.2418440156234534</c:v>
                </c:pt>
                <c:pt idx="1778">
                  <c:v>1.2366321764311914</c:v>
                </c:pt>
                <c:pt idx="1779">
                  <c:v>1.1961726598857139</c:v>
                </c:pt>
                <c:pt idx="1780">
                  <c:v>1.1934232860912948</c:v>
                </c:pt>
                <c:pt idx="1781">
                  <c:v>1.199214976198923</c:v>
                </c:pt>
                <c:pt idx="1782">
                  <c:v>1.1892411965854162</c:v>
                </c:pt>
                <c:pt idx="1783">
                  <c:v>1.1771511993947752</c:v>
                </c:pt>
                <c:pt idx="1784">
                  <c:v>1.1436433010340237</c:v>
                </c:pt>
                <c:pt idx="1785">
                  <c:v>1.1424038040959517</c:v>
                </c:pt>
                <c:pt idx="1786">
                  <c:v>1.154727543156709</c:v>
                </c:pt>
                <c:pt idx="1787">
                  <c:v>1.1267026780527245</c:v>
                </c:pt>
                <c:pt idx="1788">
                  <c:v>1.1298316555542567</c:v>
                </c:pt>
                <c:pt idx="1789">
                  <c:v>1.1142303385350025</c:v>
                </c:pt>
                <c:pt idx="1790">
                  <c:v>1.0452825928545495</c:v>
                </c:pt>
                <c:pt idx="1791">
                  <c:v>1.0703452362351042</c:v>
                </c:pt>
                <c:pt idx="1792">
                  <c:v>1.0357810413361486</c:v>
                </c:pt>
                <c:pt idx="1793">
                  <c:v>1.0539778210720689</c:v>
                </c:pt>
                <c:pt idx="1794">
                  <c:v>1.0534644331100862</c:v>
                </c:pt>
                <c:pt idx="1795">
                  <c:v>1.0378270309818285</c:v>
                </c:pt>
                <c:pt idx="1796">
                  <c:v>1.0380024240135772</c:v>
                </c:pt>
                <c:pt idx="1797">
                  <c:v>1.0425735321273368</c:v>
                </c:pt>
                <c:pt idx="1798">
                  <c:v>0.99531018561622098</c:v>
                </c:pt>
                <c:pt idx="1799">
                  <c:v>0.97780168185182414</c:v>
                </c:pt>
                <c:pt idx="1800">
                  <c:v>0.98656556442196164</c:v>
                </c:pt>
                <c:pt idx="1801">
                  <c:v>0.94987141178410517</c:v>
                </c:pt>
                <c:pt idx="1802">
                  <c:v>0.93593941077676557</c:v>
                </c:pt>
                <c:pt idx="1803">
                  <c:v>1.0109446237346842</c:v>
                </c:pt>
                <c:pt idx="1804">
                  <c:v>1.0223520215238859</c:v>
                </c:pt>
                <c:pt idx="1805">
                  <c:v>1.0285278131220319</c:v>
                </c:pt>
                <c:pt idx="1806">
                  <c:v>1.0210023537933743</c:v>
                </c:pt>
                <c:pt idx="1807">
                  <c:v>1.0644207875193081</c:v>
                </c:pt>
                <c:pt idx="1808">
                  <c:v>1.0708343646704368</c:v>
                </c:pt>
                <c:pt idx="1809">
                  <c:v>1.0788896123788212</c:v>
                </c:pt>
                <c:pt idx="1810">
                  <c:v>1.1220575378649564</c:v>
                </c:pt>
                <c:pt idx="1811">
                  <c:v>1.1294262507636239</c:v>
                </c:pt>
                <c:pt idx="1812">
                  <c:v>1.1596772817682774</c:v>
                </c:pt>
                <c:pt idx="1813">
                  <c:v>1.1212027911688098</c:v>
                </c:pt>
                <c:pt idx="1814">
                  <c:v>1.1458588364708278</c:v>
                </c:pt>
                <c:pt idx="1815">
                  <c:v>1.1397037909837779</c:v>
                </c:pt>
                <c:pt idx="1816">
                  <c:v>1.1701844354217097</c:v>
                </c:pt>
                <c:pt idx="1817">
                  <c:v>1.152814974569379</c:v>
                </c:pt>
                <c:pt idx="1818">
                  <c:v>1.2128669492401629</c:v>
                </c:pt>
                <c:pt idx="1819">
                  <c:v>1.2410301825413013</c:v>
                </c:pt>
                <c:pt idx="1820">
                  <c:v>1.240008064489905</c:v>
                </c:pt>
                <c:pt idx="1821">
                  <c:v>1.2404726813268723</c:v>
                </c:pt>
                <c:pt idx="1822">
                  <c:v>1.232078757432385</c:v>
                </c:pt>
                <c:pt idx="1823">
                  <c:v>1.2287465420159398</c:v>
                </c:pt>
                <c:pt idx="1824">
                  <c:v>1.2523787259125254</c:v>
                </c:pt>
                <c:pt idx="1825">
                  <c:v>1.2495805747942894</c:v>
                </c:pt>
                <c:pt idx="1826">
                  <c:v>1.2308030423395366</c:v>
                </c:pt>
                <c:pt idx="1827">
                  <c:v>1.2290610980727119</c:v>
                </c:pt>
                <c:pt idx="1828">
                  <c:v>1.2695064657837183</c:v>
                </c:pt>
                <c:pt idx="1829">
                  <c:v>1.2966183477742967</c:v>
                </c:pt>
                <c:pt idx="1830">
                  <c:v>1.3164753365817217</c:v>
                </c:pt>
                <c:pt idx="1831">
                  <c:v>1.2850328643134352</c:v>
                </c:pt>
                <c:pt idx="1832">
                  <c:v>1.3192592414823401</c:v>
                </c:pt>
                <c:pt idx="1833">
                  <c:v>1.3058428662736761</c:v>
                </c:pt>
                <c:pt idx="1834">
                  <c:v>1.2747872687806239</c:v>
                </c:pt>
                <c:pt idx="1835">
                  <c:v>1.2536516982978814</c:v>
                </c:pt>
                <c:pt idx="1836">
                  <c:v>1.2584777457544256</c:v>
                </c:pt>
                <c:pt idx="1837">
                  <c:v>1.2672714741709104</c:v>
                </c:pt>
                <c:pt idx="1838">
                  <c:v>1.2129571968088253</c:v>
                </c:pt>
                <c:pt idx="1839">
                  <c:v>1.2371582943024271</c:v>
                </c:pt>
                <c:pt idx="1840">
                  <c:v>1.2540349500368717</c:v>
                </c:pt>
                <c:pt idx="1841">
                  <c:v>1.2307654755939408</c:v>
                </c:pt>
                <c:pt idx="1842">
                  <c:v>1.2285802628911111</c:v>
                </c:pt>
                <c:pt idx="1843">
                  <c:v>1.2042132130007508</c:v>
                </c:pt>
                <c:pt idx="1844">
                  <c:v>1.2036693004917245</c:v>
                </c:pt>
                <c:pt idx="1845">
                  <c:v>1.1833228229125838</c:v>
                </c:pt>
                <c:pt idx="1846">
                  <c:v>1.2290893560523948</c:v>
                </c:pt>
                <c:pt idx="1847">
                  <c:v>1.2345376566984303</c:v>
                </c:pt>
                <c:pt idx="1848">
                  <c:v>1.2713541168071862</c:v>
                </c:pt>
                <c:pt idx="1849">
                  <c:v>1.1948812871254533</c:v>
                </c:pt>
                <c:pt idx="1850">
                  <c:v>1.1724815150891743</c:v>
                </c:pt>
                <c:pt idx="1851">
                  <c:v>1.1830239183540834</c:v>
                </c:pt>
                <c:pt idx="1852">
                  <c:v>1.1459372836523454</c:v>
                </c:pt>
                <c:pt idx="1853">
                  <c:v>1.1038009599288199</c:v>
                </c:pt>
                <c:pt idx="1854">
                  <c:v>1.1040904396491849</c:v>
                </c:pt>
                <c:pt idx="1855">
                  <c:v>1.0859457995544217</c:v>
                </c:pt>
                <c:pt idx="1856">
                  <c:v>1.1078235952892361</c:v>
                </c:pt>
                <c:pt idx="1857">
                  <c:v>1.1635388178505952</c:v>
                </c:pt>
                <c:pt idx="1858">
                  <c:v>1.168810718047903</c:v>
                </c:pt>
                <c:pt idx="1859">
                  <c:v>1.1610001250312509</c:v>
                </c:pt>
                <c:pt idx="1860">
                  <c:v>1.1290686998727122</c:v>
                </c:pt>
                <c:pt idx="1861">
                  <c:v>1.0976046255271037</c:v>
                </c:pt>
                <c:pt idx="1862">
                  <c:v>1.127714026130376</c:v>
                </c:pt>
                <c:pt idx="1863">
                  <c:v>1.1522867400012875</c:v>
                </c:pt>
                <c:pt idx="1864">
                  <c:v>1.1550962348774048</c:v>
                </c:pt>
                <c:pt idx="1865">
                  <c:v>1.1271612453940556</c:v>
                </c:pt>
                <c:pt idx="1866">
                  <c:v>1.1215701359667494</c:v>
                </c:pt>
                <c:pt idx="1867">
                  <c:v>1.1381165350313769</c:v>
                </c:pt>
                <c:pt idx="1868">
                  <c:v>1.1628984922278496</c:v>
                </c:pt>
                <c:pt idx="1869">
                  <c:v>1.1726420862162468</c:v>
                </c:pt>
                <c:pt idx="1870">
                  <c:v>1.1318875661326044</c:v>
                </c:pt>
                <c:pt idx="1871">
                  <c:v>1.0848033368172743</c:v>
                </c:pt>
                <c:pt idx="1872">
                  <c:v>1.0861299551940793</c:v>
                </c:pt>
                <c:pt idx="1873">
                  <c:v>1.1029103240044946</c:v>
                </c:pt>
                <c:pt idx="1874">
                  <c:v>1.1039019747660901</c:v>
                </c:pt>
                <c:pt idx="1875">
                  <c:v>1.1194711693137662</c:v>
                </c:pt>
                <c:pt idx="1876">
                  <c:v>1.1319828449629097</c:v>
                </c:pt>
                <c:pt idx="1877">
                  <c:v>1.1018351261242718</c:v>
                </c:pt>
                <c:pt idx="1878">
                  <c:v>1.100914575807681</c:v>
                </c:pt>
                <c:pt idx="1879">
                  <c:v>1.0305839246788449</c:v>
                </c:pt>
                <c:pt idx="1880">
                  <c:v>1.055080387295638</c:v>
                </c:pt>
                <c:pt idx="1881">
                  <c:v>1.0639351787191398</c:v>
                </c:pt>
                <c:pt idx="1882">
                  <c:v>1.074406362722254</c:v>
                </c:pt>
                <c:pt idx="1883">
                  <c:v>1.0804168848927203</c:v>
                </c:pt>
                <c:pt idx="1884">
                  <c:v>1.0817460994410439</c:v>
                </c:pt>
                <c:pt idx="1885">
                  <c:v>1.0810102801576171</c:v>
                </c:pt>
                <c:pt idx="1886">
                  <c:v>1.1098332723761335</c:v>
                </c:pt>
                <c:pt idx="1887">
                  <c:v>1.0688794252891438</c:v>
                </c:pt>
                <c:pt idx="1888">
                  <c:v>1.0400858111827385</c:v>
                </c:pt>
                <c:pt idx="1889">
                  <c:v>1.0503783240603897</c:v>
                </c:pt>
                <c:pt idx="1890">
                  <c:v>1.1485683468178227</c:v>
                </c:pt>
                <c:pt idx="1891">
                  <c:v>1.2050891190888062</c:v>
                </c:pt>
                <c:pt idx="1892">
                  <c:v>1.2608136986865657</c:v>
                </c:pt>
                <c:pt idx="1893">
                  <c:v>1.2773054635880281</c:v>
                </c:pt>
                <c:pt idx="1894">
                  <c:v>1.3047524381012601</c:v>
                </c:pt>
                <c:pt idx="1895">
                  <c:v>1.2940256433283683</c:v>
                </c:pt>
                <c:pt idx="1896">
                  <c:v>1.3363669253389145</c:v>
                </c:pt>
                <c:pt idx="1897">
                  <c:v>1.3617242390534898</c:v>
                </c:pt>
                <c:pt idx="1898">
                  <c:v>1.2843374091901085</c:v>
                </c:pt>
                <c:pt idx="1899">
                  <c:v>1.2814007792214137</c:v>
                </c:pt>
                <c:pt idx="1900">
                  <c:v>1.3005708424107587</c:v>
                </c:pt>
                <c:pt idx="1901">
                  <c:v>1.326744986070991</c:v>
                </c:pt>
                <c:pt idx="1902">
                  <c:v>1.3603586655454984</c:v>
                </c:pt>
                <c:pt idx="1903">
                  <c:v>1.3607151029505946</c:v>
                </c:pt>
                <c:pt idx="1904">
                  <c:v>1.353031641779272</c:v>
                </c:pt>
                <c:pt idx="1905">
                  <c:v>1.3516965842651141</c:v>
                </c:pt>
                <c:pt idx="1906">
                  <c:v>1.3114669616112515</c:v>
                </c:pt>
                <c:pt idx="1907">
                  <c:v>1.3520273109158574</c:v>
                </c:pt>
                <c:pt idx="1908">
                  <c:v>1.3869952826085938</c:v>
                </c:pt>
                <c:pt idx="1909">
                  <c:v>1.4021886885435813</c:v>
                </c:pt>
                <c:pt idx="1910">
                  <c:v>1.3904022006491106</c:v>
                </c:pt>
                <c:pt idx="1911">
                  <c:v>1.3492314817694728</c:v>
                </c:pt>
                <c:pt idx="1912">
                  <c:v>1.2791064589522374</c:v>
                </c:pt>
                <c:pt idx="1913">
                  <c:v>1.2285456915105073</c:v>
                </c:pt>
                <c:pt idx="1914">
                  <c:v>1.1933254339859887</c:v>
                </c:pt>
                <c:pt idx="1915">
                  <c:v>1.1047188130533387</c:v>
                </c:pt>
                <c:pt idx="1916">
                  <c:v>1.076106682163924</c:v>
                </c:pt>
                <c:pt idx="1917">
                  <c:v>0.88175094623300232</c:v>
                </c:pt>
                <c:pt idx="1918">
                  <c:v>0.87858928959152782</c:v>
                </c:pt>
                <c:pt idx="1919">
                  <c:v>0.84547219103081761</c:v>
                </c:pt>
                <c:pt idx="1920">
                  <c:v>0.83154151449135727</c:v>
                </c:pt>
                <c:pt idx="1921">
                  <c:v>0.84621675456051115</c:v>
                </c:pt>
                <c:pt idx="1922">
                  <c:v>0.83531901059557201</c:v>
                </c:pt>
                <c:pt idx="1923">
                  <c:v>0.88585806771120645</c:v>
                </c:pt>
                <c:pt idx="1924">
                  <c:v>0.91198471973616846</c:v>
                </c:pt>
                <c:pt idx="1925">
                  <c:v>0.91075580098743147</c:v>
                </c:pt>
                <c:pt idx="1926">
                  <c:v>0.91999614304941846</c:v>
                </c:pt>
                <c:pt idx="1927">
                  <c:v>0.9072328244995671</c:v>
                </c:pt>
                <c:pt idx="1928">
                  <c:v>0.91391418622589848</c:v>
                </c:pt>
                <c:pt idx="1929">
                  <c:v>0.91325602058775668</c:v>
                </c:pt>
                <c:pt idx="1930">
                  <c:v>1.0664698071030259</c:v>
                </c:pt>
                <c:pt idx="1931">
                  <c:v>1.0973330328328934</c:v>
                </c:pt>
                <c:pt idx="1932">
                  <c:v>1.152199859455395</c:v>
                </c:pt>
                <c:pt idx="1933">
                  <c:v>1.1360896905377835</c:v>
                </c:pt>
                <c:pt idx="1934">
                  <c:v>1.282988279264929</c:v>
                </c:pt>
                <c:pt idx="1935">
                  <c:v>1.283443117773102</c:v>
                </c:pt>
                <c:pt idx="1936">
                  <c:v>1.3053415488445106</c:v>
                </c:pt>
                <c:pt idx="1937">
                  <c:v>1.3670747358258559</c:v>
                </c:pt>
                <c:pt idx="1938">
                  <c:v>1.4059894155217316</c:v>
                </c:pt>
                <c:pt idx="1939">
                  <c:v>1.3867440786911427</c:v>
                </c:pt>
                <c:pt idx="1940">
                  <c:v>1.3814004892962641</c:v>
                </c:pt>
                <c:pt idx="1941">
                  <c:v>1.3707414993588385</c:v>
                </c:pt>
                <c:pt idx="1942">
                  <c:v>1.3412822464030938</c:v>
                </c:pt>
                <c:pt idx="1943">
                  <c:v>1.3867200413631728</c:v>
                </c:pt>
                <c:pt idx="1944">
                  <c:v>1.385290233943077</c:v>
                </c:pt>
                <c:pt idx="1945">
                  <c:v>1.317346795891333</c:v>
                </c:pt>
                <c:pt idx="1946">
                  <c:v>1.2645018569525945</c:v>
                </c:pt>
                <c:pt idx="1947">
                  <c:v>1.2324170673749162</c:v>
                </c:pt>
                <c:pt idx="1948">
                  <c:v>1.2832016410575944</c:v>
                </c:pt>
                <c:pt idx="1949">
                  <c:v>1.3225830055053684</c:v>
                </c:pt>
                <c:pt idx="1950">
                  <c:v>1.3437861773074542</c:v>
                </c:pt>
                <c:pt idx="1951">
                  <c:v>1.2842276453811805</c:v>
                </c:pt>
                <c:pt idx="1952">
                  <c:v>1.2904803640088733</c:v>
                </c:pt>
                <c:pt idx="1953">
                  <c:v>1.2598933219902781</c:v>
                </c:pt>
                <c:pt idx="1954">
                  <c:v>1.2792545712501933</c:v>
                </c:pt>
                <c:pt idx="1955">
                  <c:v>1.3069326314794525</c:v>
                </c:pt>
                <c:pt idx="1956">
                  <c:v>1.2909269821017295</c:v>
                </c:pt>
                <c:pt idx="1957">
                  <c:v>1.331417709916602</c:v>
                </c:pt>
                <c:pt idx="1958">
                  <c:v>1.3129919866431958</c:v>
                </c:pt>
                <c:pt idx="1959">
                  <c:v>1.3059452968174314</c:v>
                </c:pt>
                <c:pt idx="1960">
                  <c:v>1.2309149495002585</c:v>
                </c:pt>
                <c:pt idx="1961">
                  <c:v>1.2247932456637958</c:v>
                </c:pt>
                <c:pt idx="1962">
                  <c:v>1.2476904254860102</c:v>
                </c:pt>
                <c:pt idx="1963">
                  <c:v>1.2441939135937188</c:v>
                </c:pt>
                <c:pt idx="1964">
                  <c:v>1.223532959599293</c:v>
                </c:pt>
                <c:pt idx="1965">
                  <c:v>1.2250716898048408</c:v>
                </c:pt>
                <c:pt idx="1966">
                  <c:v>1.2212011538090335</c:v>
                </c:pt>
                <c:pt idx="1967">
                  <c:v>1.2481477890161101</c:v>
                </c:pt>
                <c:pt idx="1968">
                  <c:v>1.277584161737527</c:v>
                </c:pt>
                <c:pt idx="1969">
                  <c:v>1.2558163176420001</c:v>
                </c:pt>
                <c:pt idx="1970">
                  <c:v>1.2529002912382712</c:v>
                </c:pt>
                <c:pt idx="1971">
                  <c:v>1.2848614836853283</c:v>
                </c:pt>
                <c:pt idx="1972">
                  <c:v>1.3008606745626738</c:v>
                </c:pt>
                <c:pt idx="1973">
                  <c:v>1.2848417332768622</c:v>
                </c:pt>
                <c:pt idx="1974">
                  <c:v>1.250199811987057</c:v>
                </c:pt>
                <c:pt idx="1975">
                  <c:v>1.2628511861179721</c:v>
                </c:pt>
                <c:pt idx="1976">
                  <c:v>1.2629447582398805</c:v>
                </c:pt>
                <c:pt idx="1977">
                  <c:v>1.2580762751035781</c:v>
                </c:pt>
                <c:pt idx="1978">
                  <c:v>1.2368019808299733</c:v>
                </c:pt>
                <c:pt idx="1979">
                  <c:v>1.2172676965899036</c:v>
                </c:pt>
                <c:pt idx="1980">
                  <c:v>1.188626477589072</c:v>
                </c:pt>
                <c:pt idx="1981">
                  <c:v>1.1343074245253499</c:v>
                </c:pt>
                <c:pt idx="1982">
                  <c:v>1.1319808501742816</c:v>
                </c:pt>
                <c:pt idx="1983">
                  <c:v>1.1147659959859069</c:v>
                </c:pt>
                <c:pt idx="1984">
                  <c:v>1.1396715240786259</c:v>
                </c:pt>
                <c:pt idx="1985">
                  <c:v>1.1424768414866591</c:v>
                </c:pt>
                <c:pt idx="1986">
                  <c:v>1.1112093576635951</c:v>
                </c:pt>
                <c:pt idx="1987">
                  <c:v>1.1188192700967323</c:v>
                </c:pt>
                <c:pt idx="1988">
                  <c:v>1.0933948317348663</c:v>
                </c:pt>
                <c:pt idx="1989">
                  <c:v>1.1046540839381755</c:v>
                </c:pt>
                <c:pt idx="1990">
                  <c:v>1.1005677908995841</c:v>
                </c:pt>
                <c:pt idx="1991">
                  <c:v>1.0906507872756275</c:v>
                </c:pt>
                <c:pt idx="1992">
                  <c:v>1.1027082984170609</c:v>
                </c:pt>
                <c:pt idx="1993">
                  <c:v>1.1250865677565602</c:v>
                </c:pt>
                <c:pt idx="1994">
                  <c:v>1.1315372548616263</c:v>
                </c:pt>
                <c:pt idx="1995">
                  <c:v>1.1322102278287369</c:v>
                </c:pt>
                <c:pt idx="1996">
                  <c:v>1.1267343620306634</c:v>
                </c:pt>
                <c:pt idx="1997">
                  <c:v>1.094058931793237</c:v>
                </c:pt>
                <c:pt idx="1998">
                  <c:v>1.0895509581119098</c:v>
                </c:pt>
                <c:pt idx="1999">
                  <c:v>1.0272385992479771</c:v>
                </c:pt>
                <c:pt idx="2000">
                  <c:v>1.0382513214302271</c:v>
                </c:pt>
                <c:pt idx="2001">
                  <c:v>1.0496411060990816</c:v>
                </c:pt>
                <c:pt idx="2002">
                  <c:v>1.0397755134064131</c:v>
                </c:pt>
                <c:pt idx="2003">
                  <c:v>1.0995616917565352</c:v>
                </c:pt>
                <c:pt idx="2004">
                  <c:v>1.080431017138854</c:v>
                </c:pt>
                <c:pt idx="2005">
                  <c:v>1.0864112768033984</c:v>
                </c:pt>
                <c:pt idx="2006">
                  <c:v>1.0705747627235778</c:v>
                </c:pt>
                <c:pt idx="2007">
                  <c:v>1.0830518410134302</c:v>
                </c:pt>
                <c:pt idx="2008">
                  <c:v>1.0923237536535122</c:v>
                </c:pt>
                <c:pt idx="2009">
                  <c:v>1.0919545462988813</c:v>
                </c:pt>
                <c:pt idx="2010">
                  <c:v>1.0792368869087621</c:v>
                </c:pt>
                <c:pt idx="2011">
                  <c:v>1.1095817288074032</c:v>
                </c:pt>
                <c:pt idx="2012">
                  <c:v>1.1098223242473766</c:v>
                </c:pt>
                <c:pt idx="2013">
                  <c:v>1.1198892034290666</c:v>
                </c:pt>
                <c:pt idx="2014">
                  <c:v>1.1305484443164016</c:v>
                </c:pt>
                <c:pt idx="2015">
                  <c:v>1.0572388464744491</c:v>
                </c:pt>
                <c:pt idx="2016">
                  <c:v>1.0630549404671488</c:v>
                </c:pt>
                <c:pt idx="2017">
                  <c:v>1.0807203889719974</c:v>
                </c:pt>
                <c:pt idx="2018">
                  <c:v>1.0811252600679484</c:v>
                </c:pt>
                <c:pt idx="2019">
                  <c:v>1.0198933108866821</c:v>
                </c:pt>
                <c:pt idx="2020">
                  <c:v>0.99743596016168168</c:v>
                </c:pt>
                <c:pt idx="2021">
                  <c:v>1.0689177523506297</c:v>
                </c:pt>
                <c:pt idx="2022">
                  <c:v>1.0309548763109115</c:v>
                </c:pt>
                <c:pt idx="2023">
                  <c:v>1.045580766743988</c:v>
                </c:pt>
                <c:pt idx="2024">
                  <c:v>1.0634395403190435</c:v>
                </c:pt>
                <c:pt idx="2025">
                  <c:v>1.0582138532167233</c:v>
                </c:pt>
                <c:pt idx="2026">
                  <c:v>1.0534875006275559</c:v>
                </c:pt>
                <c:pt idx="2027">
                  <c:v>1.021135147395932</c:v>
                </c:pt>
                <c:pt idx="2028">
                  <c:v>1.047609773035332</c:v>
                </c:pt>
                <c:pt idx="2029">
                  <c:v>1.0375254887398895</c:v>
                </c:pt>
                <c:pt idx="2030">
                  <c:v>1.0978517635016378</c:v>
                </c:pt>
                <c:pt idx="2031">
                  <c:v>1.0945035698964753</c:v>
                </c:pt>
                <c:pt idx="2032">
                  <c:v>1.0830804336735345</c:v>
                </c:pt>
                <c:pt idx="2033">
                  <c:v>1.0723849413179913</c:v>
                </c:pt>
                <c:pt idx="2034">
                  <c:v>1.026420023438811</c:v>
                </c:pt>
                <c:pt idx="2035">
                  <c:v>1.0143330877493972</c:v>
                </c:pt>
                <c:pt idx="2036">
                  <c:v>1.0565900721874883</c:v>
                </c:pt>
                <c:pt idx="2037">
                  <c:v>1.1226293062003081</c:v>
                </c:pt>
                <c:pt idx="2038">
                  <c:v>1.1302783937206922</c:v>
                </c:pt>
                <c:pt idx="2039">
                  <c:v>1.1255460801293848</c:v>
                </c:pt>
                <c:pt idx="2040">
                  <c:v>1.1430744244295499</c:v>
                </c:pt>
                <c:pt idx="2041">
                  <c:v>1.1440728978954642</c:v>
                </c:pt>
                <c:pt idx="2042">
                  <c:v>1.1170543060123106</c:v>
                </c:pt>
                <c:pt idx="2043">
                  <c:v>1.1447959859566095</c:v>
                </c:pt>
                <c:pt idx="2044">
                  <c:v>1.1750684262848752</c:v>
                </c:pt>
                <c:pt idx="2045">
                  <c:v>1.1732903828893535</c:v>
                </c:pt>
                <c:pt idx="2046">
                  <c:v>1.1741740634091677</c:v>
                </c:pt>
                <c:pt idx="2047">
                  <c:v>1.1924294348049478</c:v>
                </c:pt>
                <c:pt idx="2048">
                  <c:v>1.2042355358510444</c:v>
                </c:pt>
                <c:pt idx="2049">
                  <c:v>1.2162279073350708</c:v>
                </c:pt>
                <c:pt idx="2050">
                  <c:v>1.2545967093954162</c:v>
                </c:pt>
                <c:pt idx="2051">
                  <c:v>1.2533134578611669</c:v>
                </c:pt>
                <c:pt idx="2052">
                  <c:v>1.2451562064635202</c:v>
                </c:pt>
                <c:pt idx="2053">
                  <c:v>1.249991139753545</c:v>
                </c:pt>
                <c:pt idx="2054">
                  <c:v>1.2777035851921619</c:v>
                </c:pt>
                <c:pt idx="2055">
                  <c:v>1.2730324477024244</c:v>
                </c:pt>
                <c:pt idx="2056">
                  <c:v>1.273531032335915</c:v>
                </c:pt>
                <c:pt idx="2057">
                  <c:v>1.2791438669117972</c:v>
                </c:pt>
                <c:pt idx="2058">
                  <c:v>1.279867432651246</c:v>
                </c:pt>
                <c:pt idx="2059">
                  <c:v>1.2308159720239449</c:v>
                </c:pt>
                <c:pt idx="2060">
                  <c:v>1.2320997899817687</c:v>
                </c:pt>
                <c:pt idx="2061">
                  <c:v>1.2500660627704137</c:v>
                </c:pt>
                <c:pt idx="2062">
                  <c:v>1.2404377479146682</c:v>
                </c:pt>
                <c:pt idx="2063">
                  <c:v>1.241314946215877</c:v>
                </c:pt>
                <c:pt idx="2064">
                  <c:v>1.2674840034196613</c:v>
                </c:pt>
                <c:pt idx="2065">
                  <c:v>1.2685348419185383</c:v>
                </c:pt>
                <c:pt idx="2066">
                  <c:v>1.268833432555232</c:v>
                </c:pt>
                <c:pt idx="2067">
                  <c:v>1.1879666372347315</c:v>
                </c:pt>
                <c:pt idx="2068">
                  <c:v>1.1803617998286051</c:v>
                </c:pt>
                <c:pt idx="2069">
                  <c:v>1.2013802993456795</c:v>
                </c:pt>
                <c:pt idx="2070">
                  <c:v>1.2157822385661439</c:v>
                </c:pt>
                <c:pt idx="2071">
                  <c:v>1.2496535433849751</c:v>
                </c:pt>
                <c:pt idx="2072">
                  <c:v>1.2550919942293055</c:v>
                </c:pt>
                <c:pt idx="2073">
                  <c:v>1.2578677982401261</c:v>
                </c:pt>
                <c:pt idx="2074">
                  <c:v>1.2590301780526596</c:v>
                </c:pt>
                <c:pt idx="2075">
                  <c:v>1.1845276723030209</c:v>
                </c:pt>
                <c:pt idx="2076">
                  <c:v>1.1258680760778248</c:v>
                </c:pt>
                <c:pt idx="2077">
                  <c:v>1.1517160641725537</c:v>
                </c:pt>
                <c:pt idx="2078">
                  <c:v>1.1015880033080689</c:v>
                </c:pt>
                <c:pt idx="2079">
                  <c:v>1.0895863869485776</c:v>
                </c:pt>
                <c:pt idx="2080">
                  <c:v>1.1121956391682835</c:v>
                </c:pt>
                <c:pt idx="2081">
                  <c:v>1.1098617563821045</c:v>
                </c:pt>
                <c:pt idx="2082">
                  <c:v>1.1240386095232335</c:v>
                </c:pt>
                <c:pt idx="2083">
                  <c:v>1.1679874244425381</c:v>
                </c:pt>
                <c:pt idx="2084">
                  <c:v>1.1583140324840506</c:v>
                </c:pt>
                <c:pt idx="2085">
                  <c:v>1.1787620625045585</c:v>
                </c:pt>
                <c:pt idx="2086">
                  <c:v>1.1755394094737135</c:v>
                </c:pt>
                <c:pt idx="2087">
                  <c:v>1.1754345798949866</c:v>
                </c:pt>
                <c:pt idx="2088">
                  <c:v>1.1726740877707806</c:v>
                </c:pt>
                <c:pt idx="2089">
                  <c:v>1.1851147578387977</c:v>
                </c:pt>
                <c:pt idx="2090">
                  <c:v>1.2049541998167046</c:v>
                </c:pt>
                <c:pt idx="2091">
                  <c:v>1.2245488087235381</c:v>
                </c:pt>
                <c:pt idx="2092">
                  <c:v>1.1872682116740148</c:v>
                </c:pt>
                <c:pt idx="2093">
                  <c:v>1.1668897175411332</c:v>
                </c:pt>
                <c:pt idx="2094">
                  <c:v>1.1661519294588703</c:v>
                </c:pt>
                <c:pt idx="2095">
                  <c:v>1.1332834587381317</c:v>
                </c:pt>
                <c:pt idx="2096">
                  <c:v>1.1545186587203056</c:v>
                </c:pt>
                <c:pt idx="2097">
                  <c:v>1.1457507282052219</c:v>
                </c:pt>
                <c:pt idx="2098">
                  <c:v>1.2109080392704861</c:v>
                </c:pt>
                <c:pt idx="2099">
                  <c:v>1.210231915924622</c:v>
                </c:pt>
                <c:pt idx="2100">
                  <c:v>1.1698197637114416</c:v>
                </c:pt>
                <c:pt idx="2101">
                  <c:v>1.1647459458094589</c:v>
                </c:pt>
                <c:pt idx="2102">
                  <c:v>1.1183555515957111</c:v>
                </c:pt>
                <c:pt idx="2103">
                  <c:v>1.1260443659014929</c:v>
                </c:pt>
                <c:pt idx="2104">
                  <c:v>1.1153456477605921</c:v>
                </c:pt>
                <c:pt idx="2105">
                  <c:v>1.110603730032135</c:v>
                </c:pt>
                <c:pt idx="2106">
                  <c:v>1.1127137223729155</c:v>
                </c:pt>
                <c:pt idx="2107">
                  <c:v>1.1364870415886517</c:v>
                </c:pt>
                <c:pt idx="2108">
                  <c:v>1.1194104631216546</c:v>
                </c:pt>
                <c:pt idx="2109">
                  <c:v>1.0894168312716972</c:v>
                </c:pt>
                <c:pt idx="2110">
                  <c:v>1.0594381753136088</c:v>
                </c:pt>
                <c:pt idx="2111">
                  <c:v>1.0542911801172954</c:v>
                </c:pt>
                <c:pt idx="2112">
                  <c:v>1.0087655609651078</c:v>
                </c:pt>
                <c:pt idx="2113">
                  <c:v>1.0342010578011369</c:v>
                </c:pt>
                <c:pt idx="2114">
                  <c:v>1.029527712996575</c:v>
                </c:pt>
                <c:pt idx="2115">
                  <c:v>1.0869956623153905</c:v>
                </c:pt>
                <c:pt idx="2116">
                  <c:v>1.0585845692822948</c:v>
                </c:pt>
                <c:pt idx="2117">
                  <c:v>1.0764468632786139</c:v>
                </c:pt>
                <c:pt idx="2118">
                  <c:v>1.0858003341275038</c:v>
                </c:pt>
                <c:pt idx="2119">
                  <c:v>1.076611070837312</c:v>
                </c:pt>
                <c:pt idx="2120">
                  <c:v>1.0582028790989628</c:v>
                </c:pt>
                <c:pt idx="2121">
                  <c:v>0.99987579873863697</c:v>
                </c:pt>
                <c:pt idx="2122">
                  <c:v>0.98484090740749952</c:v>
                </c:pt>
                <c:pt idx="2123">
                  <c:v>1.0181890945487806</c:v>
                </c:pt>
                <c:pt idx="2124">
                  <c:v>1.0263985475898847</c:v>
                </c:pt>
                <c:pt idx="2125">
                  <c:v>1.0306502801629664</c:v>
                </c:pt>
                <c:pt idx="2126">
                  <c:v>1.0767525848737298</c:v>
                </c:pt>
                <c:pt idx="2127">
                  <c:v>1.0435176243159794</c:v>
                </c:pt>
                <c:pt idx="2128">
                  <c:v>1.0635847277571637</c:v>
                </c:pt>
                <c:pt idx="2129">
                  <c:v>1.0214158421429766</c:v>
                </c:pt>
                <c:pt idx="2130">
                  <c:v>1.0106332519230079</c:v>
                </c:pt>
                <c:pt idx="2131">
                  <c:v>1.0239103833433278</c:v>
                </c:pt>
                <c:pt idx="2132">
                  <c:v>1.0336013873621637</c:v>
                </c:pt>
                <c:pt idx="2133">
                  <c:v>1.0219162897350287</c:v>
                </c:pt>
                <c:pt idx="2134">
                  <c:v>1.0105191894556311</c:v>
                </c:pt>
                <c:pt idx="2135">
                  <c:v>1.0134161327236297</c:v>
                </c:pt>
                <c:pt idx="2136">
                  <c:v>1.0375744046386706</c:v>
                </c:pt>
                <c:pt idx="2137">
                  <c:v>1.0524364972031151</c:v>
                </c:pt>
                <c:pt idx="2138">
                  <c:v>1.0270757110014008</c:v>
                </c:pt>
                <c:pt idx="2139">
                  <c:v>1.0519021173646006</c:v>
                </c:pt>
                <c:pt idx="2140">
                  <c:v>1.0745305551628095</c:v>
                </c:pt>
                <c:pt idx="2141">
                  <c:v>1.113577978400478</c:v>
                </c:pt>
                <c:pt idx="2142">
                  <c:v>1.0879374784376388</c:v>
                </c:pt>
                <c:pt idx="2143">
                  <c:v>1.1267115534737291</c:v>
                </c:pt>
                <c:pt idx="2144">
                  <c:v>1.0993091672324447</c:v>
                </c:pt>
                <c:pt idx="2145">
                  <c:v>1.0668086263061856</c:v>
                </c:pt>
                <c:pt idx="2146">
                  <c:v>1.0408097550640845</c:v>
                </c:pt>
                <c:pt idx="2147">
                  <c:v>1.0709331675984106</c:v>
                </c:pt>
                <c:pt idx="2148">
                  <c:v>1.0561694837925508</c:v>
                </c:pt>
                <c:pt idx="2149">
                  <c:v>1.0985643612979525</c:v>
                </c:pt>
                <c:pt idx="2150">
                  <c:v>1.1008447391821186</c:v>
                </c:pt>
                <c:pt idx="2151">
                  <c:v>1.0970277537387643</c:v>
                </c:pt>
                <c:pt idx="2152">
                  <c:v>1.1180315843731401</c:v>
                </c:pt>
                <c:pt idx="2153">
                  <c:v>1.1534403890894387</c:v>
                </c:pt>
                <c:pt idx="2154">
                  <c:v>1.1428174013827521</c:v>
                </c:pt>
                <c:pt idx="2155">
                  <c:v>1.1715252442220199</c:v>
                </c:pt>
                <c:pt idx="2156">
                  <c:v>1.1721033386861162</c:v>
                </c:pt>
                <c:pt idx="2157">
                  <c:v>1.1319884493502426</c:v>
                </c:pt>
                <c:pt idx="2158">
                  <c:v>1.1368889827682322</c:v>
                </c:pt>
                <c:pt idx="2159">
                  <c:v>1.1366907259459864</c:v>
                </c:pt>
                <c:pt idx="2160">
                  <c:v>1.1106150577277503</c:v>
                </c:pt>
                <c:pt idx="2161">
                  <c:v>1.1298633469564803</c:v>
                </c:pt>
                <c:pt idx="2162">
                  <c:v>1.1514937470357218</c:v>
                </c:pt>
                <c:pt idx="2163">
                  <c:v>1.1817798677900972</c:v>
                </c:pt>
                <c:pt idx="2164">
                  <c:v>1.1766273105605658</c:v>
                </c:pt>
                <c:pt idx="2165">
                  <c:v>1.1880696370018016</c:v>
                </c:pt>
                <c:pt idx="2166">
                  <c:v>1.2107970359914135</c:v>
                </c:pt>
                <c:pt idx="2167">
                  <c:v>1.2048089127031858</c:v>
                </c:pt>
                <c:pt idx="2168">
                  <c:v>1.1876134014896642</c:v>
                </c:pt>
                <c:pt idx="2169">
                  <c:v>1.1826322927203314</c:v>
                </c:pt>
                <c:pt idx="2170">
                  <c:v>1.1942680306498445</c:v>
                </c:pt>
                <c:pt idx="2171">
                  <c:v>1.1749381132180849</c:v>
                </c:pt>
                <c:pt idx="2172">
                  <c:v>1.1306502078331384</c:v>
                </c:pt>
                <c:pt idx="2173">
                  <c:v>1.13405078492795</c:v>
                </c:pt>
                <c:pt idx="2174">
                  <c:v>1.124752876083482</c:v>
                </c:pt>
                <c:pt idx="2175">
                  <c:v>1.1542239398079588</c:v>
                </c:pt>
                <c:pt idx="2176">
                  <c:v>1.1808102740177215</c:v>
                </c:pt>
                <c:pt idx="2177">
                  <c:v>1.1889173714472476</c:v>
                </c:pt>
                <c:pt idx="2178">
                  <c:v>1.1434135838164226</c:v>
                </c:pt>
                <c:pt idx="2179">
                  <c:v>1.1335372365593763</c:v>
                </c:pt>
                <c:pt idx="2180">
                  <c:v>1.1058295188369602</c:v>
                </c:pt>
                <c:pt idx="2181">
                  <c:v>1.1492834607346789</c:v>
                </c:pt>
                <c:pt idx="2182">
                  <c:v>1.2075066285799498</c:v>
                </c:pt>
                <c:pt idx="2183">
                  <c:v>1.2052673821047313</c:v>
                </c:pt>
                <c:pt idx="2184">
                  <c:v>1.1966444122889501</c:v>
                </c:pt>
                <c:pt idx="2185">
                  <c:v>1.2179927962073109</c:v>
                </c:pt>
                <c:pt idx="2186">
                  <c:v>1.1783902816613769</c:v>
                </c:pt>
                <c:pt idx="2187">
                  <c:v>1.1770826886476495</c:v>
                </c:pt>
                <c:pt idx="2188">
                  <c:v>1.2023033449730289</c:v>
                </c:pt>
                <c:pt idx="2189">
                  <c:v>1.2567708236690598</c:v>
                </c:pt>
                <c:pt idx="2190">
                  <c:v>1.2552195541148403</c:v>
                </c:pt>
                <c:pt idx="2191">
                  <c:v>1.2492630946161394</c:v>
                </c:pt>
                <c:pt idx="2192">
                  <c:v>1.2605870794777474</c:v>
                </c:pt>
                <c:pt idx="2193">
                  <c:v>1.2609657503897218</c:v>
                </c:pt>
                <c:pt idx="2194">
                  <c:v>1.2447568316311717</c:v>
                </c:pt>
                <c:pt idx="2195">
                  <c:v>1.2577594860430124</c:v>
                </c:pt>
                <c:pt idx="2196">
                  <c:v>1.2494979636999504</c:v>
                </c:pt>
                <c:pt idx="2197">
                  <c:v>1.2397724383630775</c:v>
                </c:pt>
                <c:pt idx="2198">
                  <c:v>1.2003974252282548</c:v>
                </c:pt>
                <c:pt idx="2199">
                  <c:v>1.2024219287020907</c:v>
                </c:pt>
                <c:pt idx="2200">
                  <c:v>1.2231866543573182</c:v>
                </c:pt>
                <c:pt idx="2201">
                  <c:v>1.2311200425384135</c:v>
                </c:pt>
                <c:pt idx="2202">
                  <c:v>1.2314542500200618</c:v>
                </c:pt>
                <c:pt idx="2203">
                  <c:v>1.2401309330803725</c:v>
                </c:pt>
                <c:pt idx="2204">
                  <c:v>1.2989351304504315</c:v>
                </c:pt>
                <c:pt idx="2205">
                  <c:v>1.3000287010892926</c:v>
                </c:pt>
                <c:pt idx="2206">
                  <c:v>1.2859698653637477</c:v>
                </c:pt>
                <c:pt idx="2207">
                  <c:v>1.2629077218777678</c:v>
                </c:pt>
                <c:pt idx="2208">
                  <c:v>1.2262242072523328</c:v>
                </c:pt>
                <c:pt idx="2209">
                  <c:v>1.2306358178311858</c:v>
                </c:pt>
                <c:pt idx="2210">
                  <c:v>1.260290545098437</c:v>
                </c:pt>
                <c:pt idx="2211">
                  <c:v>1.2748291051399114</c:v>
                </c:pt>
                <c:pt idx="2212">
                  <c:v>1.2443441075781712</c:v>
                </c:pt>
                <c:pt idx="2213">
                  <c:v>1.2211535177767348</c:v>
                </c:pt>
                <c:pt idx="2214">
                  <c:v>1.1935988771651436</c:v>
                </c:pt>
                <c:pt idx="2215">
                  <c:v>1.2197586576022725</c:v>
                </c:pt>
                <c:pt idx="2216">
                  <c:v>1.1835020022151674</c:v>
                </c:pt>
                <c:pt idx="2217">
                  <c:v>1.2442744571561297</c:v>
                </c:pt>
                <c:pt idx="2218">
                  <c:v>1.2631241350893267</c:v>
                </c:pt>
                <c:pt idx="2219">
                  <c:v>1.2377579453119232</c:v>
                </c:pt>
                <c:pt idx="2220">
                  <c:v>1.1934423870396065</c:v>
                </c:pt>
                <c:pt idx="2221">
                  <c:v>1.1707445475845373</c:v>
                </c:pt>
                <c:pt idx="2222">
                  <c:v>1.176569827566466</c:v>
                </c:pt>
                <c:pt idx="2223">
                  <c:v>1.6522283421560278</c:v>
                </c:pt>
                <c:pt idx="2224">
                  <c:v>1.7923194559726412</c:v>
                </c:pt>
                <c:pt idx="2225">
                  <c:v>1.9623433983131557</c:v>
                </c:pt>
                <c:pt idx="2226">
                  <c:v>2.0930242049676937</c:v>
                </c:pt>
                <c:pt idx="2227">
                  <c:v>2.1023650788412516</c:v>
                </c:pt>
                <c:pt idx="2228">
                  <c:v>2.1504853665691277</c:v>
                </c:pt>
                <c:pt idx="2229">
                  <c:v>2.1442915465391219</c:v>
                </c:pt>
                <c:pt idx="2230">
                  <c:v>2.1758980842673399</c:v>
                </c:pt>
                <c:pt idx="2231">
                  <c:v>2.1760980666548382</c:v>
                </c:pt>
                <c:pt idx="2232">
                  <c:v>2.219816954577102</c:v>
                </c:pt>
                <c:pt idx="2233">
                  <c:v>2.2517885842052294</c:v>
                </c:pt>
                <c:pt idx="2234">
                  <c:v>2.3643119893101465</c:v>
                </c:pt>
                <c:pt idx="2235">
                  <c:v>2.457108975224549</c:v>
                </c:pt>
                <c:pt idx="2236">
                  <c:v>2.4923523025447269</c:v>
                </c:pt>
                <c:pt idx="2237">
                  <c:v>2.6168586190809142</c:v>
                </c:pt>
                <c:pt idx="2238">
                  <c:v>2.6176195785607428</c:v>
                </c:pt>
                <c:pt idx="2239">
                  <c:v>2.7051814480116985</c:v>
                </c:pt>
                <c:pt idx="2240">
                  <c:v>2.8845377930562628</c:v>
                </c:pt>
                <c:pt idx="2241">
                  <c:v>2.8867905310036748</c:v>
                </c:pt>
                <c:pt idx="2242">
                  <c:v>2.8866726762459489</c:v>
                </c:pt>
                <c:pt idx="2243">
                  <c:v>2.8805696121292721</c:v>
                </c:pt>
                <c:pt idx="2244">
                  <c:v>2.9701601998719243</c:v>
                </c:pt>
                <c:pt idx="2245">
                  <c:v>3.029468706747322</c:v>
                </c:pt>
                <c:pt idx="2246">
                  <c:v>3.1015355198103349</c:v>
                </c:pt>
                <c:pt idx="2247">
                  <c:v>3.1367742831172611</c:v>
                </c:pt>
                <c:pt idx="2248">
                  <c:v>3.2484440940638133</c:v>
                </c:pt>
                <c:pt idx="2249">
                  <c:v>3.2186936841299558</c:v>
                </c:pt>
                <c:pt idx="2250">
                  <c:v>3.2418358332729431</c:v>
                </c:pt>
                <c:pt idx="2251">
                  <c:v>3.2425004621914599</c:v>
                </c:pt>
                <c:pt idx="2252">
                  <c:v>3.2731640343403088</c:v>
                </c:pt>
                <c:pt idx="2253">
                  <c:v>3.3139054697389292</c:v>
                </c:pt>
                <c:pt idx="2254">
                  <c:v>3.2618606076372902</c:v>
                </c:pt>
                <c:pt idx="2255">
                  <c:v>3.2331172746790307</c:v>
                </c:pt>
                <c:pt idx="2256">
                  <c:v>3.1742902009063214</c:v>
                </c:pt>
                <c:pt idx="2257">
                  <c:v>3.1485763637364061</c:v>
                </c:pt>
                <c:pt idx="2258">
                  <c:v>3.1875253825681344</c:v>
                </c:pt>
                <c:pt idx="2259">
                  <c:v>3.2463362641268305</c:v>
                </c:pt>
                <c:pt idx="2260">
                  <c:v>3.2644959761798802</c:v>
                </c:pt>
                <c:pt idx="2261">
                  <c:v>3.3281788749488688</c:v>
                </c:pt>
                <c:pt idx="2262">
                  <c:v>3.3527868684045878</c:v>
                </c:pt>
                <c:pt idx="2263">
                  <c:v>3.2271278218401305</c:v>
                </c:pt>
                <c:pt idx="2264">
                  <c:v>3.1490628064774739</c:v>
                </c:pt>
                <c:pt idx="2265">
                  <c:v>2.9942526667364033</c:v>
                </c:pt>
                <c:pt idx="2266">
                  <c:v>2.9934750906395684</c:v>
                </c:pt>
                <c:pt idx="2267">
                  <c:v>2.8236086115816139</c:v>
                </c:pt>
                <c:pt idx="2268">
                  <c:v>2.870423856903292</c:v>
                </c:pt>
                <c:pt idx="2269">
                  <c:v>2.8322239067673514</c:v>
                </c:pt>
                <c:pt idx="2270">
                  <c:v>2.832519339113436</c:v>
                </c:pt>
                <c:pt idx="2271">
                  <c:v>2.8022709300835631</c:v>
                </c:pt>
                <c:pt idx="2272">
                  <c:v>2.8519045890327819</c:v>
                </c:pt>
                <c:pt idx="2273">
                  <c:v>2.8847794496491894</c:v>
                </c:pt>
                <c:pt idx="2274">
                  <c:v>2.861568033946289</c:v>
                </c:pt>
                <c:pt idx="2275">
                  <c:v>7.4321776863373472</c:v>
                </c:pt>
                <c:pt idx="2276">
                  <c:v>9.8523454660702861</c:v>
                </c:pt>
                <c:pt idx="2277">
                  <c:v>11.741001944751854</c:v>
                </c:pt>
                <c:pt idx="2278">
                  <c:v>13.249132469063611</c:v>
                </c:pt>
                <c:pt idx="2279">
                  <c:v>14.333356291554502</c:v>
                </c:pt>
                <c:pt idx="2280">
                  <c:v>15.2850949114362</c:v>
                </c:pt>
                <c:pt idx="2281">
                  <c:v>16.02683572093401</c:v>
                </c:pt>
                <c:pt idx="2282">
                  <c:v>16.68004233382112</c:v>
                </c:pt>
                <c:pt idx="2283">
                  <c:v>17.125110011419661</c:v>
                </c:pt>
                <c:pt idx="2284">
                  <c:v>17.624933322530783</c:v>
                </c:pt>
                <c:pt idx="2285">
                  <c:v>18.04335984853309</c:v>
                </c:pt>
                <c:pt idx="2286">
                  <c:v>18.314680262518365</c:v>
                </c:pt>
                <c:pt idx="2287">
                  <c:v>18.380370092334452</c:v>
                </c:pt>
                <c:pt idx="2288">
                  <c:v>18.558598876479458</c:v>
                </c:pt>
                <c:pt idx="2289">
                  <c:v>18.607754806121324</c:v>
                </c:pt>
                <c:pt idx="2290">
                  <c:v>18.614088478689286</c:v>
                </c:pt>
                <c:pt idx="2291">
                  <c:v>18.824486621396609</c:v>
                </c:pt>
                <c:pt idx="2292">
                  <c:v>19.062172263355755</c:v>
                </c:pt>
                <c:pt idx="2293">
                  <c:v>19.228920468023972</c:v>
                </c:pt>
                <c:pt idx="2294">
                  <c:v>19.385906509183307</c:v>
                </c:pt>
                <c:pt idx="2295">
                  <c:v>19.619202662653741</c:v>
                </c:pt>
                <c:pt idx="2296">
                  <c:v>19.795495403741981</c:v>
                </c:pt>
                <c:pt idx="2297">
                  <c:v>20.027710201467833</c:v>
                </c:pt>
                <c:pt idx="2298">
                  <c:v>20.152917993578843</c:v>
                </c:pt>
                <c:pt idx="2299">
                  <c:v>20.338783894878787</c:v>
                </c:pt>
                <c:pt idx="2300">
                  <c:v>20.544973222936619</c:v>
                </c:pt>
                <c:pt idx="2301">
                  <c:v>20.662737590435171</c:v>
                </c:pt>
                <c:pt idx="2302">
                  <c:v>20.874522460573541</c:v>
                </c:pt>
                <c:pt idx="2303">
                  <c:v>21.145103904681687</c:v>
                </c:pt>
                <c:pt idx="2304">
                  <c:v>21.393403621084317</c:v>
                </c:pt>
                <c:pt idx="2305">
                  <c:v>21.504700996438814</c:v>
                </c:pt>
                <c:pt idx="2306">
                  <c:v>21.467616206542303</c:v>
                </c:pt>
                <c:pt idx="2307">
                  <c:v>21.383887266436282</c:v>
                </c:pt>
                <c:pt idx="2308">
                  <c:v>21.178236450181231</c:v>
                </c:pt>
                <c:pt idx="2309">
                  <c:v>20.881447242102997</c:v>
                </c:pt>
                <c:pt idx="2310">
                  <c:v>20.511602334351661</c:v>
                </c:pt>
                <c:pt idx="2311">
                  <c:v>20.010682141919752</c:v>
                </c:pt>
                <c:pt idx="2312">
                  <c:v>19.421121270355354</c:v>
                </c:pt>
                <c:pt idx="2313">
                  <c:v>18.729089030542251</c:v>
                </c:pt>
                <c:pt idx="2314">
                  <c:v>17.914607651629655</c:v>
                </c:pt>
                <c:pt idx="2315">
                  <c:v>16.90495772544033</c:v>
                </c:pt>
                <c:pt idx="2316">
                  <c:v>15.722680939139446</c:v>
                </c:pt>
                <c:pt idx="2317">
                  <c:v>14.317083269064748</c:v>
                </c:pt>
                <c:pt idx="2318">
                  <c:v>12.630874181173906</c:v>
                </c:pt>
                <c:pt idx="2319">
                  <c:v>10.521688568028488</c:v>
                </c:pt>
                <c:pt idx="2320">
                  <c:v>7.6109506280336801</c:v>
                </c:pt>
                <c:pt idx="2321">
                  <c:v>1.0997648820083883</c:v>
                </c:pt>
                <c:pt idx="2322">
                  <c:v>1.0994910846211032</c:v>
                </c:pt>
                <c:pt idx="2323">
                  <c:v>1.1100486282092539</c:v>
                </c:pt>
                <c:pt idx="2324">
                  <c:v>1.1202222321764397</c:v>
                </c:pt>
                <c:pt idx="2325">
                  <c:v>1.1295067912136911</c:v>
                </c:pt>
                <c:pt idx="2326">
                  <c:v>1.1440650970275068</c:v>
                </c:pt>
                <c:pt idx="2327">
                  <c:v>1.1448134561850523</c:v>
                </c:pt>
                <c:pt idx="2328">
                  <c:v>1.0991783832843374</c:v>
                </c:pt>
                <c:pt idx="2329">
                  <c:v>1.1330812496372753</c:v>
                </c:pt>
                <c:pt idx="2330">
                  <c:v>1.1599998146088095</c:v>
                </c:pt>
                <c:pt idx="2331">
                  <c:v>1.1885701177175803</c:v>
                </c:pt>
                <c:pt idx="2332">
                  <c:v>1.1681522032220257</c:v>
                </c:pt>
                <c:pt idx="2333">
                  <c:v>1.1562727475239856</c:v>
                </c:pt>
                <c:pt idx="2334">
                  <c:v>1.1184868811147524</c:v>
                </c:pt>
                <c:pt idx="2335">
                  <c:v>1.0728425713009802</c:v>
                </c:pt>
                <c:pt idx="2336">
                  <c:v>1.1132315644685213</c:v>
                </c:pt>
                <c:pt idx="2337">
                  <c:v>1.117529244764192</c:v>
                </c:pt>
                <c:pt idx="2338">
                  <c:v>1.1626913531955496</c:v>
                </c:pt>
                <c:pt idx="2339">
                  <c:v>1.2037273652669331</c:v>
                </c:pt>
                <c:pt idx="2340">
                  <c:v>1.2388050086524371</c:v>
                </c:pt>
                <c:pt idx="2341">
                  <c:v>1.2385480573326899</c:v>
                </c:pt>
                <c:pt idx="2342">
                  <c:v>1.2567596155123681</c:v>
                </c:pt>
                <c:pt idx="2343">
                  <c:v>1.266473046888335</c:v>
                </c:pt>
                <c:pt idx="2344">
                  <c:v>1.2978564627297817</c:v>
                </c:pt>
                <c:pt idx="2345">
                  <c:v>1.2892710285065105</c:v>
                </c:pt>
                <c:pt idx="2346">
                  <c:v>1.2814932486113837</c:v>
                </c:pt>
                <c:pt idx="2347">
                  <c:v>1.2557808691797503</c:v>
                </c:pt>
                <c:pt idx="2348">
                  <c:v>1.2513272093845942</c:v>
                </c:pt>
                <c:pt idx="2349">
                  <c:v>1.2474605602833162</c:v>
                </c:pt>
                <c:pt idx="2350">
                  <c:v>1.2431709369570314</c:v>
                </c:pt>
                <c:pt idx="2351">
                  <c:v>1.248614371798741</c:v>
                </c:pt>
                <c:pt idx="2352">
                  <c:v>1.258507564666411</c:v>
                </c:pt>
                <c:pt idx="2353">
                  <c:v>1.2642111740026338</c:v>
                </c:pt>
                <c:pt idx="2354">
                  <c:v>1.2521466299102906</c:v>
                </c:pt>
                <c:pt idx="2355">
                  <c:v>1.2379256843607371</c:v>
                </c:pt>
                <c:pt idx="2356">
                  <c:v>1.2370513849603249</c:v>
                </c:pt>
                <c:pt idx="2357">
                  <c:v>1.2334767716647763</c:v>
                </c:pt>
                <c:pt idx="2358">
                  <c:v>1.2549525116320588</c:v>
                </c:pt>
                <c:pt idx="2359">
                  <c:v>1.2496711825580873</c:v>
                </c:pt>
                <c:pt idx="2360">
                  <c:v>1.2125512958886686</c:v>
                </c:pt>
                <c:pt idx="2361">
                  <c:v>1.215003429350441</c:v>
                </c:pt>
                <c:pt idx="2362">
                  <c:v>1.1841858507144294</c:v>
                </c:pt>
                <c:pt idx="2363">
                  <c:v>1.1871502880644942</c:v>
                </c:pt>
                <c:pt idx="2364">
                  <c:v>1.1802676022424849</c:v>
                </c:pt>
                <c:pt idx="2365">
                  <c:v>1.2071424535761324</c:v>
                </c:pt>
                <c:pt idx="2366">
                  <c:v>1.2044085685513859</c:v>
                </c:pt>
                <c:pt idx="2367">
                  <c:v>1.1778361789808156</c:v>
                </c:pt>
                <c:pt idx="2368">
                  <c:v>1.180527401730497</c:v>
                </c:pt>
                <c:pt idx="2369">
                  <c:v>1.1765331795494101</c:v>
                </c:pt>
                <c:pt idx="2370">
                  <c:v>1.1774429191926832</c:v>
                </c:pt>
                <c:pt idx="2371">
                  <c:v>1.1646089380107909</c:v>
                </c:pt>
                <c:pt idx="2372">
                  <c:v>1.1872155007248217</c:v>
                </c:pt>
                <c:pt idx="2373">
                  <c:v>1.1723076222947291</c:v>
                </c:pt>
                <c:pt idx="2374">
                  <c:v>1.16190583150715</c:v>
                </c:pt>
                <c:pt idx="2375">
                  <c:v>1.1598467640723198</c:v>
                </c:pt>
                <c:pt idx="2376">
                  <c:v>1.2022373408174916</c:v>
                </c:pt>
                <c:pt idx="2377">
                  <c:v>1.180688244704247</c:v>
                </c:pt>
                <c:pt idx="2378">
                  <c:v>1.2151381177303633</c:v>
                </c:pt>
                <c:pt idx="2379">
                  <c:v>1.2160638954633358</c:v>
                </c:pt>
                <c:pt idx="2380">
                  <c:v>1.2389489996185938</c:v>
                </c:pt>
                <c:pt idx="2381">
                  <c:v>1.2326690160889933</c:v>
                </c:pt>
                <c:pt idx="2382">
                  <c:v>1.2276092685089308</c:v>
                </c:pt>
                <c:pt idx="2383">
                  <c:v>1.2312703467015955</c:v>
                </c:pt>
                <c:pt idx="2384">
                  <c:v>1.2083241749745623</c:v>
                </c:pt>
                <c:pt idx="2385">
                  <c:v>1.1897634173428397</c:v>
                </c:pt>
                <c:pt idx="2386">
                  <c:v>1.2218414623590839</c:v>
                </c:pt>
                <c:pt idx="2387">
                  <c:v>1.2102800706705725</c:v>
                </c:pt>
                <c:pt idx="2388">
                  <c:v>1.2239628921214574</c:v>
                </c:pt>
                <c:pt idx="2389">
                  <c:v>1.1645252851634209</c:v>
                </c:pt>
                <c:pt idx="2390">
                  <c:v>1.1695297281156374</c:v>
                </c:pt>
                <c:pt idx="2391">
                  <c:v>1.1911960195489435</c:v>
                </c:pt>
                <c:pt idx="2392">
                  <c:v>1.1648378907933743</c:v>
                </c:pt>
                <c:pt idx="2393">
                  <c:v>1.1509124944549318</c:v>
                </c:pt>
                <c:pt idx="2394">
                  <c:v>1.1507215127909969</c:v>
                </c:pt>
                <c:pt idx="2395">
                  <c:v>1.147672258488122</c:v>
                </c:pt>
                <c:pt idx="2396">
                  <c:v>1.1832722988954545</c:v>
                </c:pt>
                <c:pt idx="2397">
                  <c:v>1.183034370836556</c:v>
                </c:pt>
                <c:pt idx="2398">
                  <c:v>1.1708100311460685</c:v>
                </c:pt>
                <c:pt idx="2399">
                  <c:v>1.1774673933343509</c:v>
                </c:pt>
                <c:pt idx="2400">
                  <c:v>1.1780031399998314</c:v>
                </c:pt>
                <c:pt idx="2401">
                  <c:v>1.1344202251863404</c:v>
                </c:pt>
                <c:pt idx="2402">
                  <c:v>1.152201819239175</c:v>
                </c:pt>
                <c:pt idx="2403">
                  <c:v>1.1237725442378432</c:v>
                </c:pt>
                <c:pt idx="2404">
                  <c:v>1.0986551896780223</c:v>
                </c:pt>
                <c:pt idx="2405">
                  <c:v>1.0845923866417699</c:v>
                </c:pt>
                <c:pt idx="2406">
                  <c:v>1.0761652349445348</c:v>
                </c:pt>
                <c:pt idx="2407">
                  <c:v>1.0440216905421937</c:v>
                </c:pt>
                <c:pt idx="2408">
                  <c:v>1.0375554396380848</c:v>
                </c:pt>
                <c:pt idx="2409">
                  <c:v>1.0098276228926342</c:v>
                </c:pt>
                <c:pt idx="2410">
                  <c:v>0.96006048196572313</c:v>
                </c:pt>
                <c:pt idx="2411">
                  <c:v>0.95100953716823744</c:v>
                </c:pt>
                <c:pt idx="2412">
                  <c:v>0.96927353352688717</c:v>
                </c:pt>
                <c:pt idx="2413">
                  <c:v>0.95871710875714289</c:v>
                </c:pt>
                <c:pt idx="2414">
                  <c:v>0.916778370515557</c:v>
                </c:pt>
                <c:pt idx="2415">
                  <c:v>0.91728889927393209</c:v>
                </c:pt>
                <c:pt idx="2416">
                  <c:v>0.91865727167192124</c:v>
                </c:pt>
                <c:pt idx="2417">
                  <c:v>0.90380224309505619</c:v>
                </c:pt>
                <c:pt idx="2418">
                  <c:v>0.89473682079962646</c:v>
                </c:pt>
                <c:pt idx="2419">
                  <c:v>0.84779486258897396</c:v>
                </c:pt>
                <c:pt idx="2420">
                  <c:v>0.87736997014721685</c:v>
                </c:pt>
                <c:pt idx="2421">
                  <c:v>0.86402882269725934</c:v>
                </c:pt>
                <c:pt idx="2422">
                  <c:v>0.84390133449686555</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pt idx="2452">
                  <c:v>#N/A</c:v>
                </c:pt>
              </c:numCache>
            </c:numRef>
          </c:val>
          <c:smooth val="0"/>
          <c:extLst>
            <c:ext xmlns:c16="http://schemas.microsoft.com/office/drawing/2014/chart" uri="{C3380CC4-5D6E-409C-BE32-E72D297353CC}">
              <c16:uniqueId val="{00000001-BF3F-43A4-B953-054E6028043D}"/>
            </c:ext>
          </c:extLst>
        </c:ser>
        <c:ser>
          <c:idx val="4"/>
          <c:order val="4"/>
          <c:tx>
            <c:strRef>
              <c:f>'Data Repository Table'!$G$1</c:f>
              <c:strCache>
                <c:ptCount val="1"/>
                <c:pt idx="0">
                  <c:v>Ambient Temperature</c:v>
                </c:pt>
              </c:strCache>
            </c:strRef>
          </c:tx>
          <c:spPr>
            <a:ln w="28575" cap="rnd">
              <a:solidFill>
                <a:schemeClr val="accent5"/>
              </a:solidFill>
              <a:round/>
            </a:ln>
            <a:effectLst/>
          </c:spPr>
          <c:marker>
            <c:symbol val="none"/>
          </c:marker>
          <c:val>
            <c:numRef>
              <c:f>'Data Repository Table'!$G$4908:$G$7360</c:f>
              <c:numCache>
                <c:formatCode>General</c:formatCode>
                <c:ptCount val="2453"/>
                <c:pt idx="0">
                  <c:v>3.3903722002036858</c:v>
                </c:pt>
                <c:pt idx="1">
                  <c:v>3.4046141997974408</c:v>
                </c:pt>
                <c:pt idx="2">
                  <c:v>3.4046141997974408</c:v>
                </c:pt>
                <c:pt idx="3">
                  <c:v>3.3036311075275422</c:v>
                </c:pt>
                <c:pt idx="4">
                  <c:v>3.3719271156296187</c:v>
                </c:pt>
                <c:pt idx="5">
                  <c:v>3.3719271156296187</c:v>
                </c:pt>
                <c:pt idx="6">
                  <c:v>3.3553039379658345</c:v>
                </c:pt>
                <c:pt idx="7">
                  <c:v>3.3998734954327694</c:v>
                </c:pt>
                <c:pt idx="8">
                  <c:v>3.3712892782805599</c:v>
                </c:pt>
                <c:pt idx="9">
                  <c:v>3.3366650016645862</c:v>
                </c:pt>
                <c:pt idx="10">
                  <c:v>3.3013519550606523</c:v>
                </c:pt>
                <c:pt idx="11">
                  <c:v>3.4553993902639615</c:v>
                </c:pt>
                <c:pt idx="12">
                  <c:v>3.4131308743720035</c:v>
                </c:pt>
                <c:pt idx="13">
                  <c:v>3.3337634131149225</c:v>
                </c:pt>
                <c:pt idx="14">
                  <c:v>3.3337634131149225</c:v>
                </c:pt>
                <c:pt idx="15">
                  <c:v>3.4077710054823891</c:v>
                </c:pt>
                <c:pt idx="16">
                  <c:v>3.3747958918767154</c:v>
                </c:pt>
                <c:pt idx="17">
                  <c:v>3.3434255821920003</c:v>
                </c:pt>
                <c:pt idx="18">
                  <c:v>3.1913862562465138</c:v>
                </c:pt>
                <c:pt idx="19">
                  <c:v>3.2232355346496102</c:v>
                </c:pt>
                <c:pt idx="20">
                  <c:v>3.2679611216281508</c:v>
                </c:pt>
                <c:pt idx="21">
                  <c:v>3.2679611216281512</c:v>
                </c:pt>
                <c:pt idx="22">
                  <c:v>3.2941786386329759</c:v>
                </c:pt>
                <c:pt idx="23">
                  <c:v>3.2941786386329754</c:v>
                </c:pt>
                <c:pt idx="24">
                  <c:v>3.3639454561954576</c:v>
                </c:pt>
                <c:pt idx="25">
                  <c:v>3.4247674750360084</c:v>
                </c:pt>
                <c:pt idx="26">
                  <c:v>3.5347734942870073</c:v>
                </c:pt>
                <c:pt idx="27">
                  <c:v>3.593901644766877</c:v>
                </c:pt>
                <c:pt idx="28">
                  <c:v>3.5962943891363142</c:v>
                </c:pt>
                <c:pt idx="29">
                  <c:v>3.625773925541937</c:v>
                </c:pt>
                <c:pt idx="30">
                  <c:v>3.5396373060053086</c:v>
                </c:pt>
                <c:pt idx="31">
                  <c:v>3.5152509508300862</c:v>
                </c:pt>
                <c:pt idx="32">
                  <c:v>3.473091647422776</c:v>
                </c:pt>
                <c:pt idx="33">
                  <c:v>3.4008221649844406</c:v>
                </c:pt>
                <c:pt idx="34">
                  <c:v>3.3337634131149225</c:v>
                </c:pt>
                <c:pt idx="35">
                  <c:v>3.2974411715100986</c:v>
                </c:pt>
                <c:pt idx="36">
                  <c:v>3.3363427275534696</c:v>
                </c:pt>
                <c:pt idx="37">
                  <c:v>3.3837054194464677</c:v>
                </c:pt>
                <c:pt idx="38">
                  <c:v>3.3036311075275422</c:v>
                </c:pt>
                <c:pt idx="39">
                  <c:v>3.2554338362752198</c:v>
                </c:pt>
                <c:pt idx="40">
                  <c:v>3.2781452925609913</c:v>
                </c:pt>
                <c:pt idx="41">
                  <c:v>3.2438527471451741</c:v>
                </c:pt>
                <c:pt idx="42">
                  <c:v>3.234890435398432</c:v>
                </c:pt>
                <c:pt idx="43">
                  <c:v>3.2448470315354649</c:v>
                </c:pt>
                <c:pt idx="44">
                  <c:v>3.2259032243548824</c:v>
                </c:pt>
                <c:pt idx="45">
                  <c:v>3.2696058754298143</c:v>
                </c:pt>
                <c:pt idx="46">
                  <c:v>3.3140301294533714</c:v>
                </c:pt>
                <c:pt idx="47">
                  <c:v>3.2709210829952458</c:v>
                </c:pt>
                <c:pt idx="48">
                  <c:v>3.3408517360967465</c:v>
                </c:pt>
                <c:pt idx="49">
                  <c:v>3.4416800098676492</c:v>
                </c:pt>
                <c:pt idx="50">
                  <c:v>3.4416800098676492</c:v>
                </c:pt>
                <c:pt idx="51">
                  <c:v>3.4416800098676492</c:v>
                </c:pt>
                <c:pt idx="52">
                  <c:v>3.393859096941485</c:v>
                </c:pt>
                <c:pt idx="53">
                  <c:v>3.4709237715566426</c:v>
                </c:pt>
                <c:pt idx="54">
                  <c:v>3.4709237715566426</c:v>
                </c:pt>
                <c:pt idx="55">
                  <c:v>3.4709237715566426</c:v>
                </c:pt>
                <c:pt idx="56">
                  <c:v>3.470923771556643</c:v>
                </c:pt>
                <c:pt idx="57">
                  <c:v>3.4771141167130479</c:v>
                </c:pt>
                <c:pt idx="58">
                  <c:v>3.4203690928294264</c:v>
                </c:pt>
                <c:pt idx="59">
                  <c:v>3.4423048042832289</c:v>
                </c:pt>
                <c:pt idx="60">
                  <c:v>3.439179697143973</c:v>
                </c:pt>
                <c:pt idx="61">
                  <c:v>3.4441785074815523</c:v>
                </c:pt>
                <c:pt idx="62">
                  <c:v>3.5411558771447154</c:v>
                </c:pt>
                <c:pt idx="63">
                  <c:v>3.5575151410070798</c:v>
                </c:pt>
                <c:pt idx="64">
                  <c:v>3.6025677819655124</c:v>
                </c:pt>
                <c:pt idx="65">
                  <c:v>3.6396856770821557</c:v>
                </c:pt>
                <c:pt idx="66">
                  <c:v>3.6582503603395891</c:v>
                </c:pt>
                <c:pt idx="67">
                  <c:v>3.7275492828283276</c:v>
                </c:pt>
                <c:pt idx="68">
                  <c:v>3.7032389194627529</c:v>
                </c:pt>
                <c:pt idx="69">
                  <c:v>3.6965546295208811</c:v>
                </c:pt>
                <c:pt idx="70">
                  <c:v>3.6198378149375161</c:v>
                </c:pt>
                <c:pt idx="71">
                  <c:v>3.6198378149375161</c:v>
                </c:pt>
                <c:pt idx="72">
                  <c:v>3.5786102907278439</c:v>
                </c:pt>
                <c:pt idx="73">
                  <c:v>3.5786102907278439</c:v>
                </c:pt>
                <c:pt idx="74">
                  <c:v>3.5305121624251998</c:v>
                </c:pt>
                <c:pt idx="75">
                  <c:v>3.5305121624251994</c:v>
                </c:pt>
                <c:pt idx="76">
                  <c:v>3.5390296950994493</c:v>
                </c:pt>
                <c:pt idx="77">
                  <c:v>3.4466751939330056</c:v>
                </c:pt>
                <c:pt idx="78">
                  <c:v>3.5753035813654668</c:v>
                </c:pt>
                <c:pt idx="79">
                  <c:v>3.5023801430836525</c:v>
                </c:pt>
                <c:pt idx="80">
                  <c:v>3.3773438695079938</c:v>
                </c:pt>
                <c:pt idx="81">
                  <c:v>3.457887974951158</c:v>
                </c:pt>
                <c:pt idx="82">
                  <c:v>3.4008221649844406</c:v>
                </c:pt>
                <c:pt idx="83">
                  <c:v>3.4008221649844406</c:v>
                </c:pt>
                <c:pt idx="84">
                  <c:v>3.3260134683127567</c:v>
                </c:pt>
                <c:pt idx="85">
                  <c:v>3.3065591380365986</c:v>
                </c:pt>
                <c:pt idx="86">
                  <c:v>3.1772037479384259</c:v>
                </c:pt>
                <c:pt idx="87">
                  <c:v>3.0827302519765838</c:v>
                </c:pt>
                <c:pt idx="88">
                  <c:v>3.0827302519765838</c:v>
                </c:pt>
                <c:pt idx="89">
                  <c:v>3.0701476270063797</c:v>
                </c:pt>
                <c:pt idx="90">
                  <c:v>3.0391707980607054</c:v>
                </c:pt>
                <c:pt idx="91">
                  <c:v>3.010376320561575</c:v>
                </c:pt>
                <c:pt idx="92">
                  <c:v>3.0046558853298513</c:v>
                </c:pt>
                <c:pt idx="93">
                  <c:v>2.9650291481640401</c:v>
                </c:pt>
                <c:pt idx="94">
                  <c:v>2.8246229170733415</c:v>
                </c:pt>
                <c:pt idx="95">
                  <c:v>2.9060559682020197</c:v>
                </c:pt>
                <c:pt idx="96">
                  <c:v>2.9413624229641955</c:v>
                </c:pt>
                <c:pt idx="97">
                  <c:v>2.9985659655012382</c:v>
                </c:pt>
                <c:pt idx="98">
                  <c:v>2.8307071953500329</c:v>
                </c:pt>
                <c:pt idx="99">
                  <c:v>2.9985659655012378</c:v>
                </c:pt>
                <c:pt idx="100">
                  <c:v>2.9985659655012378</c:v>
                </c:pt>
                <c:pt idx="101">
                  <c:v>3.0624327949615342</c:v>
                </c:pt>
                <c:pt idx="102">
                  <c:v>3.0306676222507702</c:v>
                </c:pt>
                <c:pt idx="103">
                  <c:v>3.1167256046408154</c:v>
                </c:pt>
                <c:pt idx="104">
                  <c:v>3.1167256046408154</c:v>
                </c:pt>
                <c:pt idx="105">
                  <c:v>3.2318974752183247</c:v>
                </c:pt>
                <c:pt idx="106">
                  <c:v>3.3243966224302728</c:v>
                </c:pt>
                <c:pt idx="107">
                  <c:v>3.2669738718835655</c:v>
                </c:pt>
                <c:pt idx="108">
                  <c:v>3.4307276885696245</c:v>
                </c:pt>
                <c:pt idx="109">
                  <c:v>3.3450332303024966</c:v>
                </c:pt>
                <c:pt idx="110">
                  <c:v>3.4388670302314543</c:v>
                </c:pt>
                <c:pt idx="111">
                  <c:v>3.4513516130625179</c:v>
                </c:pt>
                <c:pt idx="112">
                  <c:v>3.4513516130625179</c:v>
                </c:pt>
                <c:pt idx="113">
                  <c:v>3.4404300806418009</c:v>
                </c:pt>
                <c:pt idx="114">
                  <c:v>3.3805261408909879</c:v>
                </c:pt>
                <c:pt idx="115">
                  <c:v>3.3805261408909875</c:v>
                </c:pt>
                <c:pt idx="116">
                  <c:v>3.3957595314890785</c:v>
                </c:pt>
                <c:pt idx="117">
                  <c:v>3.3932253822320222</c:v>
                </c:pt>
                <c:pt idx="118">
                  <c:v>3.3970258971983949</c:v>
                </c:pt>
                <c:pt idx="119">
                  <c:v>3.3970258971983944</c:v>
                </c:pt>
                <c:pt idx="120">
                  <c:v>3.3970258971983944</c:v>
                </c:pt>
                <c:pt idx="121">
                  <c:v>3.4802051601865731</c:v>
                </c:pt>
                <c:pt idx="122">
                  <c:v>3.4404300806418009</c:v>
                </c:pt>
                <c:pt idx="123">
                  <c:v>3.5210580032662899</c:v>
                </c:pt>
                <c:pt idx="124">
                  <c:v>3.491618227908424</c:v>
                </c:pt>
                <c:pt idx="125">
                  <c:v>3.4916182279084245</c:v>
                </c:pt>
                <c:pt idx="126">
                  <c:v>3.4175385721997524</c:v>
                </c:pt>
                <c:pt idx="127">
                  <c:v>3.4541544255720424</c:v>
                </c:pt>
                <c:pt idx="128">
                  <c:v>3.4096636859979177</c:v>
                </c:pt>
                <c:pt idx="129">
                  <c:v>3.4096636859979177</c:v>
                </c:pt>
                <c:pt idx="130">
                  <c:v>3.3266599866332398</c:v>
                </c:pt>
                <c:pt idx="131">
                  <c:v>3.3700132414149095</c:v>
                </c:pt>
                <c:pt idx="132">
                  <c:v>3.3700132414149095</c:v>
                </c:pt>
                <c:pt idx="133">
                  <c:v>3.3900550317479468</c:v>
                </c:pt>
                <c:pt idx="134">
                  <c:v>3.2541123692687624</c:v>
                </c:pt>
                <c:pt idx="135">
                  <c:v>3.2541123692687624</c:v>
                </c:pt>
                <c:pt idx="136">
                  <c:v>3.2008063500190986</c:v>
                </c:pt>
                <c:pt idx="137">
                  <c:v>3.1380426746551722</c:v>
                </c:pt>
                <c:pt idx="138">
                  <c:v>3.1462556684387226</c:v>
                </c:pt>
                <c:pt idx="139">
                  <c:v>3.0171552506378609</c:v>
                </c:pt>
                <c:pt idx="140">
                  <c:v>2.9985659655012382</c:v>
                </c:pt>
                <c:pt idx="141">
                  <c:v>2.8230997986465658</c:v>
                </c:pt>
                <c:pt idx="142">
                  <c:v>2.8329854308861004</c:v>
                </c:pt>
                <c:pt idx="143">
                  <c:v>2.8329854308861004</c:v>
                </c:pt>
                <c:pt idx="144">
                  <c:v>2.9534015380847367</c:v>
                </c:pt>
                <c:pt idx="145">
                  <c:v>2.9256007562458413</c:v>
                </c:pt>
                <c:pt idx="146">
                  <c:v>2.9974899894009885</c:v>
                </c:pt>
                <c:pt idx="147">
                  <c:v>3.1588755315231896</c:v>
                </c:pt>
                <c:pt idx="148">
                  <c:v>3.2128773156099952</c:v>
                </c:pt>
                <c:pt idx="149">
                  <c:v>3.1873405505132704</c:v>
                </c:pt>
                <c:pt idx="150">
                  <c:v>3.1287772870289046</c:v>
                </c:pt>
                <c:pt idx="151">
                  <c:v>3.1609172481199774</c:v>
                </c:pt>
                <c:pt idx="152">
                  <c:v>3.1287772870289055</c:v>
                </c:pt>
                <c:pt idx="153">
                  <c:v>3.1067045085147393</c:v>
                </c:pt>
                <c:pt idx="154">
                  <c:v>3.0501189823434123</c:v>
                </c:pt>
                <c:pt idx="155">
                  <c:v>3.1025483802211533</c:v>
                </c:pt>
                <c:pt idx="156">
                  <c:v>3.0753966437077733</c:v>
                </c:pt>
                <c:pt idx="157">
                  <c:v>3.1256827211216236</c:v>
                </c:pt>
                <c:pt idx="158">
                  <c:v>3.1930704540819614</c:v>
                </c:pt>
                <c:pt idx="159">
                  <c:v>3.2325628169598497</c:v>
                </c:pt>
                <c:pt idx="160">
                  <c:v>3.3114334355154202</c:v>
                </c:pt>
                <c:pt idx="161">
                  <c:v>3.2656570746225424</c:v>
                </c:pt>
                <c:pt idx="162">
                  <c:v>3.3649042549768469</c:v>
                </c:pt>
                <c:pt idx="163">
                  <c:v>3.4513516130625184</c:v>
                </c:pt>
                <c:pt idx="164">
                  <c:v>3.3585070928126859</c:v>
                </c:pt>
                <c:pt idx="165">
                  <c:v>3.3585070928126859</c:v>
                </c:pt>
                <c:pt idx="166">
                  <c:v>3.2938522076121446</c:v>
                </c:pt>
                <c:pt idx="167">
                  <c:v>3.2504755648750012</c:v>
                </c:pt>
                <c:pt idx="168">
                  <c:v>3.2709210829952458</c:v>
                </c:pt>
                <c:pt idx="169">
                  <c:v>3.2504755648750012</c:v>
                </c:pt>
                <c:pt idx="170">
                  <c:v>3.1236179739705405</c:v>
                </c:pt>
                <c:pt idx="171">
                  <c:v>3.0778431213383652</c:v>
                </c:pt>
                <c:pt idx="172">
                  <c:v>3.0956090998258703</c:v>
                </c:pt>
                <c:pt idx="173">
                  <c:v>3.1826140604956361</c:v>
                </c:pt>
                <c:pt idx="174">
                  <c:v>3.0543464535092468</c:v>
                </c:pt>
                <c:pt idx="175">
                  <c:v>3.0437667665299624</c:v>
                </c:pt>
                <c:pt idx="176">
                  <c:v>3.092829028227952</c:v>
                </c:pt>
                <c:pt idx="177">
                  <c:v>3.1486470895646042</c:v>
                </c:pt>
                <c:pt idx="178">
                  <c:v>3.1609172481199774</c:v>
                </c:pt>
                <c:pt idx="179">
                  <c:v>3.0501189823434123</c:v>
                </c:pt>
                <c:pt idx="180">
                  <c:v>3.1063583768765954</c:v>
                </c:pt>
                <c:pt idx="181">
                  <c:v>3.1883524582218725</c:v>
                </c:pt>
                <c:pt idx="182">
                  <c:v>3.2285687098122131</c:v>
                </c:pt>
                <c:pt idx="183">
                  <c:v>3.1462556684387222</c:v>
                </c:pt>
                <c:pt idx="184">
                  <c:v>3.2165566307994315</c:v>
                </c:pt>
                <c:pt idx="185">
                  <c:v>3.1873405505132704</c:v>
                </c:pt>
                <c:pt idx="186">
                  <c:v>3.1208628528399895</c:v>
                </c:pt>
                <c:pt idx="187">
                  <c:v>3.0518811403171746</c:v>
                </c:pt>
                <c:pt idx="188">
                  <c:v>3.0589196209302116</c:v>
                </c:pt>
                <c:pt idx="189">
                  <c:v>3.0192928033329371</c:v>
                </c:pt>
                <c:pt idx="190">
                  <c:v>2.9816643977223802</c:v>
                </c:pt>
                <c:pt idx="191">
                  <c:v>2.9816643977223802</c:v>
                </c:pt>
                <c:pt idx="192">
                  <c:v>2.9563127280848622</c:v>
                </c:pt>
                <c:pt idx="193">
                  <c:v>2.8375364144316815</c:v>
                </c:pt>
                <c:pt idx="194">
                  <c:v>2.7684862522743834</c:v>
                </c:pt>
                <c:pt idx="195">
                  <c:v>2.7754685742143814</c:v>
                </c:pt>
                <c:pt idx="196">
                  <c:v>2.7735308035570059</c:v>
                </c:pt>
                <c:pt idx="197">
                  <c:v>2.8177624006002633</c:v>
                </c:pt>
                <c:pt idx="198">
                  <c:v>3.0042979964732033</c:v>
                </c:pt>
                <c:pt idx="199">
                  <c:v>3.0192928033329371</c:v>
                </c:pt>
                <c:pt idx="200">
                  <c:v>3.0342135081274728</c:v>
                </c:pt>
                <c:pt idx="201">
                  <c:v>3.2098638298924165</c:v>
                </c:pt>
                <c:pt idx="202">
                  <c:v>3.274863536515026</c:v>
                </c:pt>
                <c:pt idx="203">
                  <c:v>3.2948314036524877</c:v>
                </c:pt>
                <c:pt idx="204">
                  <c:v>3.191386256246513</c:v>
                </c:pt>
                <c:pt idx="205">
                  <c:v>3.2431897215384224</c:v>
                </c:pt>
                <c:pt idx="206">
                  <c:v>3.3120827998584637</c:v>
                </c:pt>
                <c:pt idx="207">
                  <c:v>3.2491520812839507</c:v>
                </c:pt>
                <c:pt idx="208">
                  <c:v>3.2142157357120453</c:v>
                </c:pt>
                <c:pt idx="209">
                  <c:v>3.1452302170555924</c:v>
                </c:pt>
                <c:pt idx="210">
                  <c:v>3.2362197514337452</c:v>
                </c:pt>
                <c:pt idx="211">
                  <c:v>3.2905861163700481</c:v>
                </c:pt>
                <c:pt idx="212">
                  <c:v>3.2491520812839507</c:v>
                </c:pt>
                <c:pt idx="213">
                  <c:v>3.4068242709161303</c:v>
                </c:pt>
                <c:pt idx="214">
                  <c:v>3.5137211840354929</c:v>
                </c:pt>
                <c:pt idx="215">
                  <c:v>3.3903722002036858</c:v>
                </c:pt>
                <c:pt idx="216">
                  <c:v>3.4897699958100268</c:v>
                </c:pt>
                <c:pt idx="217">
                  <c:v>3.5484359722929155</c:v>
                </c:pt>
                <c:pt idx="218">
                  <c:v>3.625773925541937</c:v>
                </c:pt>
                <c:pt idx="219">
                  <c:v>3.6582503603395886</c:v>
                </c:pt>
                <c:pt idx="220">
                  <c:v>3.6600135142825891</c:v>
                </c:pt>
                <c:pt idx="221">
                  <c:v>3.6376170860215788</c:v>
                </c:pt>
                <c:pt idx="222">
                  <c:v>3.6094261301829285</c:v>
                </c:pt>
                <c:pt idx="223">
                  <c:v>3.6732101924991412</c:v>
                </c:pt>
                <c:pt idx="224">
                  <c:v>3.7128084028884576</c:v>
                </c:pt>
                <c:pt idx="225">
                  <c:v>3.6455894695707514</c:v>
                </c:pt>
                <c:pt idx="226">
                  <c:v>3.7191743794175776</c:v>
                </c:pt>
                <c:pt idx="227">
                  <c:v>3.7157033806404982</c:v>
                </c:pt>
                <c:pt idx="228">
                  <c:v>3.6025677819655137</c:v>
                </c:pt>
                <c:pt idx="229">
                  <c:v>3.6025677819655133</c:v>
                </c:pt>
                <c:pt idx="230">
                  <c:v>3.5155568243090936</c:v>
                </c:pt>
                <c:pt idx="231">
                  <c:v>3.5210580032662904</c:v>
                </c:pt>
                <c:pt idx="232">
                  <c:v>3.5210580032662904</c:v>
                </c:pt>
                <c:pt idx="233">
                  <c:v>3.5375102112394892</c:v>
                </c:pt>
                <c:pt idx="234">
                  <c:v>3.4247674750360111</c:v>
                </c:pt>
                <c:pt idx="235">
                  <c:v>3.3995572134193912</c:v>
                </c:pt>
                <c:pt idx="236">
                  <c:v>3.2202317421450091</c:v>
                </c:pt>
                <c:pt idx="237">
                  <c:v>2.9175037201328888</c:v>
                </c:pt>
                <c:pt idx="238">
                  <c:v>2.6752549873445406</c:v>
                </c:pt>
                <c:pt idx="239">
                  <c:v>2.6518405051051093</c:v>
                </c:pt>
                <c:pt idx="240">
                  <c:v>2.4096579867074959</c:v>
                </c:pt>
                <c:pt idx="241">
                  <c:v>1.8768539221690339</c:v>
                </c:pt>
                <c:pt idx="242">
                  <c:v>1.8716906278687211</c:v>
                </c:pt>
                <c:pt idx="243">
                  <c:v>1.0544325284195508</c:v>
                </c:pt>
                <c:pt idx="244">
                  <c:v>1.0544325284195508</c:v>
                </c:pt>
                <c:pt idx="245">
                  <c:v>1.057487385216709</c:v>
                </c:pt>
                <c:pt idx="246">
                  <c:v>1.0452143886684542</c:v>
                </c:pt>
                <c:pt idx="247">
                  <c:v>1.0706243781736831</c:v>
                </c:pt>
                <c:pt idx="248">
                  <c:v>1.1071614388213236</c:v>
                </c:pt>
                <c:pt idx="249">
                  <c:v>1.1071614388213236</c:v>
                </c:pt>
                <c:pt idx="250">
                  <c:v>1.1415891583453359</c:v>
                </c:pt>
                <c:pt idx="251">
                  <c:v>1.1368698774616073</c:v>
                </c:pt>
                <c:pt idx="252">
                  <c:v>1.1013188574642911</c:v>
                </c:pt>
                <c:pt idx="253">
                  <c:v>1.0554517964472161</c:v>
                </c:pt>
                <c:pt idx="254">
                  <c:v>1.1013188574642911</c:v>
                </c:pt>
                <c:pt idx="255">
                  <c:v>1.0766335425511491</c:v>
                </c:pt>
                <c:pt idx="256">
                  <c:v>1.0885523582075136</c:v>
                </c:pt>
                <c:pt idx="257">
                  <c:v>1.2321848765069601</c:v>
                </c:pt>
                <c:pt idx="258">
                  <c:v>1.465003945093591</c:v>
                </c:pt>
                <c:pt idx="259">
                  <c:v>1.4955130022119318</c:v>
                </c:pt>
                <c:pt idx="260">
                  <c:v>1.5794377657615948</c:v>
                </c:pt>
                <c:pt idx="261">
                  <c:v>1.5512741901105767</c:v>
                </c:pt>
                <c:pt idx="262">
                  <c:v>1.5512741901105767</c:v>
                </c:pt>
                <c:pt idx="263">
                  <c:v>1.5218833832649807</c:v>
                </c:pt>
                <c:pt idx="264">
                  <c:v>1.5512741901105769</c:v>
                </c:pt>
                <c:pt idx="265">
                  <c:v>1.8973665961010275</c:v>
                </c:pt>
                <c:pt idx="266">
                  <c:v>1.9232588830375374</c:v>
                </c:pt>
                <c:pt idx="267">
                  <c:v>1.9482553540876468</c:v>
                </c:pt>
                <c:pt idx="268">
                  <c:v>2.3121930194384257</c:v>
                </c:pt>
                <c:pt idx="269">
                  <c:v>2.5661150084435302</c:v>
                </c:pt>
                <c:pt idx="270">
                  <c:v>2.8878685818846672</c:v>
                </c:pt>
                <c:pt idx="271">
                  <c:v>3.0274727740888872</c:v>
                </c:pt>
                <c:pt idx="272">
                  <c:v>3.0103763205615754</c:v>
                </c:pt>
                <c:pt idx="273">
                  <c:v>3.0150161824847901</c:v>
                </c:pt>
                <c:pt idx="274">
                  <c:v>3.0324410834723872</c:v>
                </c:pt>
                <c:pt idx="275">
                  <c:v>2.9859887863583925</c:v>
                </c:pt>
                <c:pt idx="276">
                  <c:v>2.9859887863583925</c:v>
                </c:pt>
                <c:pt idx="277">
                  <c:v>3.0515287901295061</c:v>
                </c:pt>
                <c:pt idx="278">
                  <c:v>3.0196489150052646</c:v>
                </c:pt>
                <c:pt idx="279">
                  <c:v>3.0196489150052646</c:v>
                </c:pt>
                <c:pt idx="280">
                  <c:v>2.9982073497054795</c:v>
                </c:pt>
                <c:pt idx="281">
                  <c:v>3.0592711198823546</c:v>
                </c:pt>
                <c:pt idx="282">
                  <c:v>3.0189366496539232</c:v>
                </c:pt>
                <c:pt idx="283">
                  <c:v>3.0788910166605645</c:v>
                </c:pt>
                <c:pt idx="284">
                  <c:v>3.054698478688024</c:v>
                </c:pt>
                <c:pt idx="285">
                  <c:v>3.0596225784532063</c:v>
                </c:pt>
                <c:pt idx="286">
                  <c:v>3.0659419433511785</c:v>
                </c:pt>
                <c:pt idx="287">
                  <c:v>3.1448883256238469</c:v>
                </c:pt>
                <c:pt idx="288">
                  <c:v>3.2709210829952458</c:v>
                </c:pt>
                <c:pt idx="289">
                  <c:v>3.2551035198179465</c:v>
                </c:pt>
                <c:pt idx="290">
                  <c:v>3.2498138904529053</c:v>
                </c:pt>
                <c:pt idx="291">
                  <c:v>3.253120916738991</c:v>
                </c:pt>
                <c:pt idx="292">
                  <c:v>3.2085235944144128</c:v>
                </c:pt>
                <c:pt idx="293">
                  <c:v>3.1907123281941789</c:v>
                </c:pt>
                <c:pt idx="294">
                  <c:v>3.2441842091342012</c:v>
                </c:pt>
                <c:pt idx="295">
                  <c:v>3.2028213369042366</c:v>
                </c:pt>
                <c:pt idx="296">
                  <c:v>3.166355389341649</c:v>
                </c:pt>
                <c:pt idx="297">
                  <c:v>3.125682721121624</c:v>
                </c:pt>
                <c:pt idx="298">
                  <c:v>3.1346142428715065</c:v>
                </c:pt>
                <c:pt idx="299">
                  <c:v>3.0157293737857152</c:v>
                </c:pt>
                <c:pt idx="300">
                  <c:v>2.9704639223492517</c:v>
                </c:pt>
                <c:pt idx="301">
                  <c:v>2.8530308351359546</c:v>
                </c:pt>
                <c:pt idx="302">
                  <c:v>2.747041419261782</c:v>
                </c:pt>
                <c:pt idx="303">
                  <c:v>2.811267651158746</c:v>
                </c:pt>
                <c:pt idx="304">
                  <c:v>2.8852610250713373</c:v>
                </c:pt>
                <c:pt idx="305">
                  <c:v>2.9197142296457206</c:v>
                </c:pt>
                <c:pt idx="306">
                  <c:v>3.0680455058239362</c:v>
                </c:pt>
                <c:pt idx="307">
                  <c:v>3.0596225784532063</c:v>
                </c:pt>
                <c:pt idx="308">
                  <c:v>2.9974899894009881</c:v>
                </c:pt>
                <c:pt idx="309">
                  <c:v>2.9974899894009881</c:v>
                </c:pt>
                <c:pt idx="310">
                  <c:v>3.2085235944144119</c:v>
                </c:pt>
                <c:pt idx="311">
                  <c:v>3.253120916738991</c:v>
                </c:pt>
                <c:pt idx="312">
                  <c:v>3.2715784885054511</c:v>
                </c:pt>
                <c:pt idx="313">
                  <c:v>3.3636257958672595</c:v>
                </c:pt>
                <c:pt idx="314">
                  <c:v>3.4150205843300343</c:v>
                </c:pt>
                <c:pt idx="315">
                  <c:v>3.4737107920301407</c:v>
                </c:pt>
                <c:pt idx="316">
                  <c:v>3.468754540828181</c:v>
                </c:pt>
                <c:pt idx="317">
                  <c:v>3.5956963523168248</c:v>
                </c:pt>
                <c:pt idx="318">
                  <c:v>3.522279320681883</c:v>
                </c:pt>
                <c:pt idx="319">
                  <c:v>3.572294825820042</c:v>
                </c:pt>
                <c:pt idx="320">
                  <c:v>3.5656666269610309</c:v>
                </c:pt>
                <c:pt idx="321">
                  <c:v>3.5017660674862126</c:v>
                </c:pt>
                <c:pt idx="322">
                  <c:v>3.5164742851113613</c:v>
                </c:pt>
                <c:pt idx="323">
                  <c:v>3.621322754826426</c:v>
                </c:pt>
                <c:pt idx="324">
                  <c:v>3.6473587438654311</c:v>
                </c:pt>
                <c:pt idx="325">
                  <c:v>3.6091282121328008</c:v>
                </c:pt>
                <c:pt idx="326">
                  <c:v>3.6939357452888353</c:v>
                </c:pt>
                <c:pt idx="327">
                  <c:v>3.7096213179488609</c:v>
                </c:pt>
                <c:pt idx="328">
                  <c:v>3.7537078443380696</c:v>
                </c:pt>
                <c:pt idx="329">
                  <c:v>3.8330761952092174</c:v>
                </c:pt>
                <c:pt idx="330">
                  <c:v>3.8344785573075786</c:v>
                </c:pt>
                <c:pt idx="331">
                  <c:v>3.7298562917342069</c:v>
                </c:pt>
                <c:pt idx="332">
                  <c:v>3.7136771331743912</c:v>
                </c:pt>
                <c:pt idx="333">
                  <c:v>3.7046904300893622</c:v>
                </c:pt>
                <c:pt idx="334">
                  <c:v>3.6591320435081274</c:v>
                </c:pt>
                <c:pt idx="335">
                  <c:v>3.5115783909374607</c:v>
                </c:pt>
                <c:pt idx="336">
                  <c:v>3.4247674750360093</c:v>
                </c:pt>
                <c:pt idx="337">
                  <c:v>3.5469205180396028</c:v>
                </c:pt>
                <c:pt idx="338">
                  <c:v>3.6473587438654311</c:v>
                </c:pt>
                <c:pt idx="339">
                  <c:v>3.5659681760018644</c:v>
                </c:pt>
                <c:pt idx="340">
                  <c:v>3.5659681760018644</c:v>
                </c:pt>
                <c:pt idx="341">
                  <c:v>3.5170857926866499</c:v>
                </c:pt>
                <c:pt idx="342">
                  <c:v>3.5344692838217693</c:v>
                </c:pt>
                <c:pt idx="343">
                  <c:v>3.41281582098375</c:v>
                </c:pt>
                <c:pt idx="344">
                  <c:v>3.4391796971439734</c:v>
                </c:pt>
                <c:pt idx="345">
                  <c:v>3.4222548059706557</c:v>
                </c:pt>
                <c:pt idx="346">
                  <c:v>3.2630218859144953</c:v>
                </c:pt>
                <c:pt idx="347">
                  <c:v>3.2498138904529053</c:v>
                </c:pt>
                <c:pt idx="348">
                  <c:v>3.1829518996835198</c:v>
                </c:pt>
                <c:pt idx="349">
                  <c:v>3.1455720713272455</c:v>
                </c:pt>
                <c:pt idx="350">
                  <c:v>3.1455720713272455</c:v>
                </c:pt>
                <c:pt idx="351">
                  <c:v>3.1510366957660967</c:v>
                </c:pt>
                <c:pt idx="352">
                  <c:v>3.1249946236512884</c:v>
                </c:pt>
                <c:pt idx="353">
                  <c:v>3.0412928773124426</c:v>
                </c:pt>
                <c:pt idx="354">
                  <c:v>3</c:v>
                </c:pt>
                <c:pt idx="355">
                  <c:v>3</c:v>
                </c:pt>
                <c:pt idx="356">
                  <c:v>3.0274727740888863</c:v>
                </c:pt>
                <c:pt idx="357">
                  <c:v>3.0189366496539236</c:v>
                </c:pt>
                <c:pt idx="358">
                  <c:v>3.1609172481199779</c:v>
                </c:pt>
                <c:pt idx="359">
                  <c:v>3.1087804890394337</c:v>
                </c:pt>
                <c:pt idx="360">
                  <c:v>2.9881486338642049</c:v>
                </c:pt>
                <c:pt idx="361">
                  <c:v>3.005371535187642</c:v>
                </c:pt>
                <c:pt idx="362">
                  <c:v>2.9967724573764891</c:v>
                </c:pt>
                <c:pt idx="363">
                  <c:v>3.0869130629262167</c:v>
                </c:pt>
                <c:pt idx="364">
                  <c:v>3.2182276562281649</c:v>
                </c:pt>
                <c:pt idx="365">
                  <c:v>3.1431783106392679</c:v>
                </c:pt>
                <c:pt idx="366">
                  <c:v>3.1558104798840882</c:v>
                </c:pt>
                <c:pt idx="367">
                  <c:v>3.0342135081274733</c:v>
                </c:pt>
                <c:pt idx="368">
                  <c:v>2.9985659655012378</c:v>
                </c:pt>
                <c:pt idx="369">
                  <c:v>2.8830240992730611</c:v>
                </c:pt>
                <c:pt idx="370">
                  <c:v>2.9595843939557183</c:v>
                </c:pt>
                <c:pt idx="371">
                  <c:v>2.8860062817091223</c:v>
                </c:pt>
                <c:pt idx="372">
                  <c:v>2.8401877872187722</c:v>
                </c:pt>
                <c:pt idx="373">
                  <c:v>2.9030943817325872</c:v>
                </c:pt>
                <c:pt idx="374">
                  <c:v>2.9493939599827605</c:v>
                </c:pt>
                <c:pt idx="375">
                  <c:v>2.9881486338642049</c:v>
                </c:pt>
                <c:pt idx="376">
                  <c:v>2.9409968319587492</c:v>
                </c:pt>
                <c:pt idx="377">
                  <c:v>2.9592210541478363</c:v>
                </c:pt>
                <c:pt idx="378">
                  <c:v>3.0928290282279525</c:v>
                </c:pt>
                <c:pt idx="379">
                  <c:v>3.0760958358604253</c:v>
                </c:pt>
                <c:pt idx="380">
                  <c:v>3.2527903654078791</c:v>
                </c:pt>
                <c:pt idx="381">
                  <c:v>3.2527903654078791</c:v>
                </c:pt>
                <c:pt idx="382">
                  <c:v>3.2804405683658779</c:v>
                </c:pt>
                <c:pt idx="383">
                  <c:v>3.4291602157009575</c:v>
                </c:pt>
                <c:pt idx="384">
                  <c:v>3.4734012335220155</c:v>
                </c:pt>
                <c:pt idx="385">
                  <c:v>3.4937732629498477</c:v>
                </c:pt>
                <c:pt idx="386">
                  <c:v>3.4937732629498477</c:v>
                </c:pt>
                <c:pt idx="387">
                  <c:v>3.5947991105430761</c:v>
                </c:pt>
                <c:pt idx="388">
                  <c:v>3.5359900744277568</c:v>
                </c:pt>
                <c:pt idx="389">
                  <c:v>3.3995572134193925</c:v>
                </c:pt>
                <c:pt idx="390">
                  <c:v>3.3639454561954576</c:v>
                </c:pt>
                <c:pt idx="391">
                  <c:v>3.3562652054079787</c:v>
                </c:pt>
                <c:pt idx="392">
                  <c:v>3.3350533196879018</c:v>
                </c:pt>
                <c:pt idx="393">
                  <c:v>3.2408680637217575</c:v>
                </c:pt>
                <c:pt idx="394">
                  <c:v>3.4209977793695825</c:v>
                </c:pt>
                <c:pt idx="395">
                  <c:v>3.4826760196814921</c:v>
                </c:pt>
                <c:pt idx="396">
                  <c:v>3.4974645194077558</c:v>
                </c:pt>
                <c:pt idx="397">
                  <c:v>3.5118845842842465</c:v>
                </c:pt>
                <c:pt idx="398">
                  <c:v>3.5472236606851757</c:v>
                </c:pt>
                <c:pt idx="399">
                  <c:v>3.6370258439069847</c:v>
                </c:pt>
                <c:pt idx="400">
                  <c:v>3.7102009915703298</c:v>
                </c:pt>
                <c:pt idx="401">
                  <c:v>3.6985902574458178</c:v>
                </c:pt>
                <c:pt idx="402">
                  <c:v>3.6985902574458178</c:v>
                </c:pt>
                <c:pt idx="403">
                  <c:v>3.7185961046135834</c:v>
                </c:pt>
                <c:pt idx="404">
                  <c:v>3.654721500649786</c:v>
                </c:pt>
                <c:pt idx="405">
                  <c:v>3.5750028197597725</c:v>
                </c:pt>
                <c:pt idx="406">
                  <c:v>3.5858143449053572</c:v>
                </c:pt>
                <c:pt idx="407">
                  <c:v>3.7183069334863834</c:v>
                </c:pt>
                <c:pt idx="408">
                  <c:v>3.7671471765066955</c:v>
                </c:pt>
                <c:pt idx="409">
                  <c:v>3.7315856124167515</c:v>
                </c:pt>
                <c:pt idx="410">
                  <c:v>3.7751308458417445</c:v>
                </c:pt>
                <c:pt idx="411">
                  <c:v>3.6305158257870636</c:v>
                </c:pt>
                <c:pt idx="412">
                  <c:v>3.5466173494832955</c:v>
                </c:pt>
                <c:pt idx="413">
                  <c:v>3.4916182279084245</c:v>
                </c:pt>
                <c:pt idx="414">
                  <c:v>3.3520977222904684</c:v>
                </c:pt>
                <c:pt idx="415">
                  <c:v>3.3234261373351717</c:v>
                </c:pt>
                <c:pt idx="416">
                  <c:v>3.3929084804912213</c:v>
                </c:pt>
                <c:pt idx="417">
                  <c:v>3.4055615487560331</c:v>
                </c:pt>
                <c:pt idx="418">
                  <c:v>3.2636808825658501</c:v>
                </c:pt>
                <c:pt idx="419">
                  <c:v>3.3205129801903963</c:v>
                </c:pt>
                <c:pt idx="420">
                  <c:v>3.3075345721906761</c:v>
                </c:pt>
                <c:pt idx="421">
                  <c:v>3.2352228156135809</c:v>
                </c:pt>
                <c:pt idx="422">
                  <c:v>3.1870031765456122</c:v>
                </c:pt>
                <c:pt idx="423">
                  <c:v>3.1208628528399895</c:v>
                </c:pt>
                <c:pt idx="424">
                  <c:v>3.1208628528399895</c:v>
                </c:pt>
                <c:pt idx="425">
                  <c:v>3.1208628528399895</c:v>
                </c:pt>
                <c:pt idx="426">
                  <c:v>3.081334719876109</c:v>
                </c:pt>
                <c:pt idx="427">
                  <c:v>3.1277461052529074</c:v>
                </c:pt>
                <c:pt idx="428">
                  <c:v>3.2085235944144119</c:v>
                </c:pt>
                <c:pt idx="429">
                  <c:v>3.1778805407350967</c:v>
                </c:pt>
                <c:pt idx="430">
                  <c:v>3.0596225784532067</c:v>
                </c:pt>
                <c:pt idx="431">
                  <c:v>2.9769725546934169</c:v>
                </c:pt>
                <c:pt idx="432">
                  <c:v>2.9267031618955586</c:v>
                </c:pt>
                <c:pt idx="433">
                  <c:v>2.8575498942012301</c:v>
                </c:pt>
                <c:pt idx="434">
                  <c:v>2.9347748168822854</c:v>
                </c:pt>
                <c:pt idx="435">
                  <c:v>2.9369723273488471</c:v>
                </c:pt>
                <c:pt idx="436">
                  <c:v>2.9646664756474639</c:v>
                </c:pt>
                <c:pt idx="437">
                  <c:v>3.0096618607626069</c:v>
                </c:pt>
                <c:pt idx="438">
                  <c:v>2.9519448664606962</c:v>
                </c:pt>
                <c:pt idx="439">
                  <c:v>2.9650291481640392</c:v>
                </c:pt>
                <c:pt idx="440">
                  <c:v>2.94245892343955</c:v>
                </c:pt>
                <c:pt idx="441">
                  <c:v>2.8541612706957866</c:v>
                </c:pt>
                <c:pt idx="442">
                  <c:v>2.8451052099903049</c:v>
                </c:pt>
                <c:pt idx="443">
                  <c:v>2.8413233324579394</c:v>
                </c:pt>
                <c:pt idx="444">
                  <c:v>2.9152915345095063</c:v>
                </c:pt>
                <c:pt idx="445">
                  <c:v>2.9366061898011622</c:v>
                </c:pt>
                <c:pt idx="446">
                  <c:v>2.836778424191249</c:v>
                </c:pt>
                <c:pt idx="447">
                  <c:v>2.836778424191249</c:v>
                </c:pt>
                <c:pt idx="448">
                  <c:v>2.8413233324579394</c:v>
                </c:pt>
                <c:pt idx="449">
                  <c:v>2.8605586340651596</c:v>
                </c:pt>
                <c:pt idx="450">
                  <c:v>2.9318422407645297</c:v>
                </c:pt>
                <c:pt idx="451">
                  <c:v>2.9296408822455926</c:v>
                </c:pt>
                <c:pt idx="452">
                  <c:v>3.0107334868819358</c:v>
                </c:pt>
                <c:pt idx="453">
                  <c:v>3.0631349462478359</c:v>
                </c:pt>
                <c:pt idx="454">
                  <c:v>3.0384631089608649</c:v>
                </c:pt>
                <c:pt idx="455">
                  <c:v>2.9486647242292534</c:v>
                </c:pt>
                <c:pt idx="456">
                  <c:v>2.8833970407530867</c:v>
                </c:pt>
                <c:pt idx="457">
                  <c:v>3.011090610836324</c:v>
                </c:pt>
                <c:pt idx="458">
                  <c:v>3.0082324321088292</c:v>
                </c:pt>
                <c:pt idx="459">
                  <c:v>2.8575498942012296</c:v>
                </c:pt>
                <c:pt idx="460">
                  <c:v>2.8800388288899819</c:v>
                </c:pt>
                <c:pt idx="461">
                  <c:v>2.8394305047663777</c:v>
                </c:pt>
                <c:pt idx="462">
                  <c:v>2.9097537123726926</c:v>
                </c:pt>
                <c:pt idx="463">
                  <c:v>2.9097537123726926</c:v>
                </c:pt>
                <c:pt idx="464">
                  <c:v>2.9493939599827614</c:v>
                </c:pt>
                <c:pt idx="465">
                  <c:v>2.8605586340651592</c:v>
                </c:pt>
                <c:pt idx="466">
                  <c:v>2.9435550154587324</c:v>
                </c:pt>
                <c:pt idx="467">
                  <c:v>3.0157293737857147</c:v>
                </c:pt>
                <c:pt idx="468">
                  <c:v>2.9870689053253003</c:v>
                </c:pt>
                <c:pt idx="469">
                  <c:v>2.9160291161872189</c:v>
                </c:pt>
                <c:pt idx="470">
                  <c:v>2.9160291161872189</c:v>
                </c:pt>
                <c:pt idx="471">
                  <c:v>3.0522334498294956</c:v>
                </c:pt>
                <c:pt idx="472">
                  <c:v>3.0886542289865595</c:v>
                </c:pt>
                <c:pt idx="473">
                  <c:v>3.0739977823009887</c:v>
                </c:pt>
                <c:pt idx="474">
                  <c:v>3.1198290551460239</c:v>
                </c:pt>
                <c:pt idx="475">
                  <c:v>3.0324410834723867</c:v>
                </c:pt>
                <c:pt idx="476">
                  <c:v>2.9787779842697057</c:v>
                </c:pt>
                <c:pt idx="477">
                  <c:v>3.0132324657206784</c:v>
                </c:pt>
                <c:pt idx="478">
                  <c:v>2.9388023308458409</c:v>
                </c:pt>
                <c:pt idx="479">
                  <c:v>3.0096618607626069</c:v>
                </c:pt>
                <c:pt idx="480">
                  <c:v>3.0196489150052646</c:v>
                </c:pt>
                <c:pt idx="481">
                  <c:v>3.096998199783521</c:v>
                </c:pt>
                <c:pt idx="482">
                  <c:v>3.096998199783521</c:v>
                </c:pt>
                <c:pt idx="483">
                  <c:v>3.0634859615410575</c:v>
                </c:pt>
                <c:pt idx="484">
                  <c:v>3.0203610123892952</c:v>
                </c:pt>
                <c:pt idx="485">
                  <c:v>2.9534015380847367</c:v>
                </c:pt>
                <c:pt idx="486">
                  <c:v>2.9300078901871811</c:v>
                </c:pt>
                <c:pt idx="487">
                  <c:v>2.8725620799602924</c:v>
                </c:pt>
                <c:pt idx="488">
                  <c:v>2.7974642896045889</c:v>
                </c:pt>
                <c:pt idx="489">
                  <c:v>2.9523091017469807</c:v>
                </c:pt>
                <c:pt idx="490">
                  <c:v>2.9366061898011622</c:v>
                </c:pt>
                <c:pt idx="491">
                  <c:v>2.9657543601470402</c:v>
                </c:pt>
                <c:pt idx="492">
                  <c:v>3.0778431213383652</c:v>
                </c:pt>
                <c:pt idx="493">
                  <c:v>2.9402655135757008</c:v>
                </c:pt>
                <c:pt idx="494">
                  <c:v>3.0532901344551728</c:v>
                </c:pt>
                <c:pt idx="495">
                  <c:v>3.0532901344551728</c:v>
                </c:pt>
                <c:pt idx="496">
                  <c:v>3.1816003276906555</c:v>
                </c:pt>
                <c:pt idx="497">
                  <c:v>3.1469391170551133</c:v>
                </c:pt>
                <c:pt idx="498">
                  <c:v>3.0203610123892952</c:v>
                </c:pt>
                <c:pt idx="499">
                  <c:v>3.0203610123892952</c:v>
                </c:pt>
                <c:pt idx="500">
                  <c:v>3.0317318234735682</c:v>
                </c:pt>
                <c:pt idx="501">
                  <c:v>3.0750469880141056</c:v>
                </c:pt>
                <c:pt idx="502">
                  <c:v>3.0317318234735686</c:v>
                </c:pt>
                <c:pt idx="503">
                  <c:v>2.9141848119636422</c:v>
                </c:pt>
                <c:pt idx="504">
                  <c:v>2.9740815877044429</c:v>
                </c:pt>
                <c:pt idx="505">
                  <c:v>2.9420934686876659</c:v>
                </c:pt>
                <c:pt idx="506">
                  <c:v>2.8699406160729084</c:v>
                </c:pt>
                <c:pt idx="507">
                  <c:v>2.8979043225002434</c:v>
                </c:pt>
                <c:pt idx="508">
                  <c:v>2.8830240992730611</c:v>
                </c:pt>
                <c:pt idx="509">
                  <c:v>2.8515228906145795</c:v>
                </c:pt>
                <c:pt idx="510">
                  <c:v>2.8189069795117021</c:v>
                </c:pt>
                <c:pt idx="511">
                  <c:v>2.8189069795117021</c:v>
                </c:pt>
                <c:pt idx="512">
                  <c:v>2.7431243469437736</c:v>
                </c:pt>
                <c:pt idx="513">
                  <c:v>2.7781791824669031</c:v>
                </c:pt>
                <c:pt idx="514">
                  <c:v>2.7909223048712684</c:v>
                </c:pt>
                <c:pt idx="515">
                  <c:v>2.8945629417333305</c:v>
                </c:pt>
                <c:pt idx="516">
                  <c:v>2.9311086382907017</c:v>
                </c:pt>
                <c:pt idx="517">
                  <c:v>2.9838273754444327</c:v>
                </c:pt>
                <c:pt idx="518">
                  <c:v>2.9773337281924346</c:v>
                </c:pt>
                <c:pt idx="519">
                  <c:v>2.9798607169586169</c:v>
                </c:pt>
                <c:pt idx="520">
                  <c:v>2.8333649587102809</c:v>
                </c:pt>
                <c:pt idx="521">
                  <c:v>2.9614004243125045</c:v>
                </c:pt>
                <c:pt idx="522">
                  <c:v>3.0075174630120736</c:v>
                </c:pt>
                <c:pt idx="523">
                  <c:v>2.908275178886798</c:v>
                </c:pt>
                <c:pt idx="524">
                  <c:v>3.0075174630120736</c:v>
                </c:pt>
                <c:pt idx="525">
                  <c:v>3.0571615199625595</c:v>
                </c:pt>
                <c:pt idx="526">
                  <c:v>3.0917858569031322</c:v>
                </c:pt>
                <c:pt idx="527">
                  <c:v>2.9964136269306869</c:v>
                </c:pt>
                <c:pt idx="528">
                  <c:v>3.0952617274295759</c:v>
                </c:pt>
                <c:pt idx="529">
                  <c:v>3.174833836986295</c:v>
                </c:pt>
                <c:pt idx="530">
                  <c:v>3.2425265603574718</c:v>
                </c:pt>
                <c:pt idx="531">
                  <c:v>3.234890435398432</c:v>
                </c:pt>
                <c:pt idx="532">
                  <c:v>3.1377000000514039</c:v>
                </c:pt>
                <c:pt idx="533">
                  <c:v>3.1067045085147389</c:v>
                </c:pt>
                <c:pt idx="534">
                  <c:v>3.1067045085147389</c:v>
                </c:pt>
                <c:pt idx="535">
                  <c:v>3.148305569189441</c:v>
                </c:pt>
                <c:pt idx="536">
                  <c:v>3.1816003276906564</c:v>
                </c:pt>
                <c:pt idx="537">
                  <c:v>3.2801127701568795</c:v>
                </c:pt>
                <c:pt idx="538">
                  <c:v>3.3757516088615271</c:v>
                </c:pt>
                <c:pt idx="539">
                  <c:v>3.4829847538711571</c:v>
                </c:pt>
                <c:pt idx="540">
                  <c:v>3.4903861819180886</c:v>
                </c:pt>
                <c:pt idx="541">
                  <c:v>3.5247206859520781</c:v>
                </c:pt>
                <c:pt idx="542">
                  <c:v>3.636434505663273</c:v>
                </c:pt>
                <c:pt idx="543">
                  <c:v>3.6156767388097477</c:v>
                </c:pt>
                <c:pt idx="544">
                  <c:v>3.5959953831587335</c:v>
                </c:pt>
                <c:pt idx="545">
                  <c:v>3.6165688010147301</c:v>
                </c:pt>
                <c:pt idx="546">
                  <c:v>3.5719938108773701</c:v>
                </c:pt>
                <c:pt idx="547">
                  <c:v>3.601373692512106</c:v>
                </c:pt>
                <c:pt idx="548">
                  <c:v>3.6600135142825891</c:v>
                </c:pt>
                <c:pt idx="549">
                  <c:v>3.7514155034559811</c:v>
                </c:pt>
                <c:pt idx="550">
                  <c:v>3.7941664334516467</c:v>
                </c:pt>
                <c:pt idx="551">
                  <c:v>3.8381223007740286</c:v>
                </c:pt>
                <c:pt idx="552">
                  <c:v>3.7574299154997517</c:v>
                </c:pt>
                <c:pt idx="553">
                  <c:v>3.8006790564743271</c:v>
                </c:pt>
                <c:pt idx="554">
                  <c:v>3.8006790564743271</c:v>
                </c:pt>
                <c:pt idx="555">
                  <c:v>3.7055610635501508</c:v>
                </c:pt>
                <c:pt idx="556">
                  <c:v>3.6013736925121056</c:v>
                </c:pt>
                <c:pt idx="557">
                  <c:v>3.5399410723483697</c:v>
                </c:pt>
                <c:pt idx="558">
                  <c:v>3.5399410723483697</c:v>
                </c:pt>
                <c:pt idx="559">
                  <c:v>3.4288466351401348</c:v>
                </c:pt>
                <c:pt idx="560">
                  <c:v>3.4730916474227764</c:v>
                </c:pt>
                <c:pt idx="561">
                  <c:v>3.3540218194864799</c:v>
                </c:pt>
                <c:pt idx="562">
                  <c:v>3.3700132414149095</c:v>
                </c:pt>
                <c:pt idx="563">
                  <c:v>3.3856115535303006</c:v>
                </c:pt>
                <c:pt idx="564">
                  <c:v>3.4423048042832289</c:v>
                </c:pt>
                <c:pt idx="565">
                  <c:v>3.4553993902639619</c:v>
                </c:pt>
                <c:pt idx="566">
                  <c:v>3.4999231942417537</c:v>
                </c:pt>
                <c:pt idx="567">
                  <c:v>3.4591315959138442</c:v>
                </c:pt>
                <c:pt idx="568">
                  <c:v>3.4247674750360093</c:v>
                </c:pt>
                <c:pt idx="569">
                  <c:v>3.317597265025281</c:v>
                </c:pt>
                <c:pt idx="570">
                  <c:v>3.238876746751127</c:v>
                </c:pt>
                <c:pt idx="571">
                  <c:v>3.2633514008747819</c:v>
                </c:pt>
                <c:pt idx="572">
                  <c:v>3.203492717550307</c:v>
                </c:pt>
                <c:pt idx="573">
                  <c:v>3.0886542289865591</c:v>
                </c:pt>
                <c:pt idx="574">
                  <c:v>3.1301516676297969</c:v>
                </c:pt>
                <c:pt idx="575">
                  <c:v>3.1486470895646046</c:v>
                </c:pt>
                <c:pt idx="576">
                  <c:v>3.0917858569031327</c:v>
                </c:pt>
                <c:pt idx="577">
                  <c:v>3.0697973734398984</c:v>
                </c:pt>
                <c:pt idx="578">
                  <c:v>3.0303128054583297</c:v>
                </c:pt>
                <c:pt idx="579">
                  <c:v>2.8975332482529308</c:v>
                </c:pt>
                <c:pt idx="580">
                  <c:v>2.7746936283458021</c:v>
                </c:pt>
                <c:pt idx="581">
                  <c:v>2.7415559509625305</c:v>
                </c:pt>
                <c:pt idx="582">
                  <c:v>2.6518405051051102</c:v>
                </c:pt>
                <c:pt idx="583">
                  <c:v>2.6518405051051102</c:v>
                </c:pt>
                <c:pt idx="584">
                  <c:v>2.5157567962870564</c:v>
                </c:pt>
                <c:pt idx="585">
                  <c:v>2.5915495426979716</c:v>
                </c:pt>
                <c:pt idx="586">
                  <c:v>2.6457513110645907</c:v>
                </c:pt>
                <c:pt idx="587">
                  <c:v>2.6768622298970599</c:v>
                </c:pt>
                <c:pt idx="588">
                  <c:v>2.7618756288521236</c:v>
                </c:pt>
                <c:pt idx="589">
                  <c:v>2.6526513415420703</c:v>
                </c:pt>
                <c:pt idx="590">
                  <c:v>2.7653773391631371</c:v>
                </c:pt>
                <c:pt idx="591">
                  <c:v>2.6720376019503469</c:v>
                </c:pt>
                <c:pt idx="592">
                  <c:v>2.7688746209726918</c:v>
                </c:pt>
                <c:pt idx="593">
                  <c:v>2.7489978623694546</c:v>
                </c:pt>
                <c:pt idx="594">
                  <c:v>2.7684862522743825</c:v>
                </c:pt>
                <c:pt idx="595">
                  <c:v>2.6542722713245865</c:v>
                </c:pt>
                <c:pt idx="596">
                  <c:v>2.7951571021691164</c:v>
                </c:pt>
                <c:pt idx="597">
                  <c:v>2.7951571021691164</c:v>
                </c:pt>
                <c:pt idx="598">
                  <c:v>2.8363993531099565</c:v>
                </c:pt>
                <c:pt idx="599">
                  <c:v>2.8993881445752012</c:v>
                </c:pt>
                <c:pt idx="600">
                  <c:v>2.9632153417006881</c:v>
                </c:pt>
                <c:pt idx="601">
                  <c:v>2.9252331953729485</c:v>
                </c:pt>
                <c:pt idx="602">
                  <c:v>2.8975332482529312</c:v>
                </c:pt>
                <c:pt idx="603">
                  <c:v>2.8975332482529312</c:v>
                </c:pt>
                <c:pt idx="604">
                  <c:v>2.891589584048996</c:v>
                </c:pt>
                <c:pt idx="605">
                  <c:v>2.9773337281924341</c:v>
                </c:pt>
                <c:pt idx="606">
                  <c:v>2.9863488694210645</c:v>
                </c:pt>
                <c:pt idx="607">
                  <c:v>2.9985659655012378</c:v>
                </c:pt>
                <c:pt idx="608">
                  <c:v>3.0327956512705554</c:v>
                </c:pt>
                <c:pt idx="609">
                  <c:v>2.9592210541478363</c:v>
                </c:pt>
                <c:pt idx="610">
                  <c:v>2.9606741458406831</c:v>
                </c:pt>
                <c:pt idx="611">
                  <c:v>2.9108621196425455</c:v>
                </c:pt>
                <c:pt idx="612">
                  <c:v>2.8541612706957866</c:v>
                </c:pt>
                <c:pt idx="613">
                  <c:v>2.8246229170733415</c:v>
                </c:pt>
                <c:pt idx="614">
                  <c:v>2.8382942022444784</c:v>
                </c:pt>
                <c:pt idx="615">
                  <c:v>2.9079054280520573</c:v>
                </c:pt>
                <c:pt idx="616">
                  <c:v>2.7820468986407398</c:v>
                </c:pt>
                <c:pt idx="617">
                  <c:v>2.7739184659816485</c:v>
                </c:pt>
                <c:pt idx="618">
                  <c:v>2.7940027940041907</c:v>
                </c:pt>
                <c:pt idx="619">
                  <c:v>2.7940027940041907</c:v>
                </c:pt>
                <c:pt idx="620">
                  <c:v>2.7970798905248491</c:v>
                </c:pt>
                <c:pt idx="621">
                  <c:v>2.573646423652344</c:v>
                </c:pt>
                <c:pt idx="622">
                  <c:v>2.5736464236523444</c:v>
                </c:pt>
                <c:pt idx="623">
                  <c:v>2.3316430129385042</c:v>
                </c:pt>
                <c:pt idx="624">
                  <c:v>2.3646136786930696</c:v>
                </c:pt>
                <c:pt idx="625">
                  <c:v>2.36461367869307</c:v>
                </c:pt>
                <c:pt idx="626">
                  <c:v>2.3600619638302462</c:v>
                </c:pt>
                <c:pt idx="627">
                  <c:v>1.9232588830375388</c:v>
                </c:pt>
                <c:pt idx="628">
                  <c:v>1.8928274350623531</c:v>
                </c:pt>
                <c:pt idx="629">
                  <c:v>1.8990659843468394</c:v>
                </c:pt>
                <c:pt idx="630">
                  <c:v>1.422552604995152</c:v>
                </c:pt>
                <c:pt idx="631">
                  <c:v>1.425572889934474</c:v>
                </c:pt>
                <c:pt idx="632">
                  <c:v>1.2225480178356916</c:v>
                </c:pt>
                <c:pt idx="633">
                  <c:v>1.2030427373775998</c:v>
                </c:pt>
                <c:pt idx="634">
                  <c:v>1.1886560586672881</c:v>
                </c:pt>
                <c:pt idx="635">
                  <c:v>1.1658215064692519</c:v>
                </c:pt>
                <c:pt idx="636">
                  <c:v>1.1658215064692519</c:v>
                </c:pt>
                <c:pt idx="637">
                  <c:v>1.1658215064692519</c:v>
                </c:pt>
                <c:pt idx="638">
                  <c:v>1.1768373874750659</c:v>
                </c:pt>
                <c:pt idx="639">
                  <c:v>1.1415891583453361</c:v>
                </c:pt>
                <c:pt idx="640">
                  <c:v>1.1500350625790896</c:v>
                </c:pt>
                <c:pt idx="641">
                  <c:v>1.1795752835077402</c:v>
                </c:pt>
                <c:pt idx="642">
                  <c:v>1.1481635640850445</c:v>
                </c:pt>
                <c:pt idx="643">
                  <c:v>1.1120068074364233</c:v>
                </c:pt>
                <c:pt idx="644">
                  <c:v>1.0706243781736828</c:v>
                </c:pt>
                <c:pt idx="645">
                  <c:v>1.0706243781736828</c:v>
                </c:pt>
                <c:pt idx="646">
                  <c:v>1.8739871816501965</c:v>
                </c:pt>
                <c:pt idx="647">
                  <c:v>1.9443881200239632</c:v>
                </c:pt>
                <c:pt idx="648">
                  <c:v>1.9734800875392633</c:v>
                </c:pt>
                <c:pt idx="649">
                  <c:v>2.0483405294850709</c:v>
                </c:pt>
                <c:pt idx="650">
                  <c:v>2.0409780493306298</c:v>
                </c:pt>
                <c:pt idx="651">
                  <c:v>2.4994623077688107</c:v>
                </c:pt>
                <c:pt idx="652">
                  <c:v>2.7781791824669035</c:v>
                </c:pt>
                <c:pt idx="653">
                  <c:v>2.811267651158746</c:v>
                </c:pt>
                <c:pt idx="654">
                  <c:v>2.8020729653643577</c:v>
                </c:pt>
                <c:pt idx="655">
                  <c:v>2.76732081915506</c:v>
                </c:pt>
                <c:pt idx="656">
                  <c:v>2.7673208191550605</c:v>
                </c:pt>
                <c:pt idx="657">
                  <c:v>2.8398091712353244</c:v>
                </c:pt>
                <c:pt idx="658">
                  <c:v>2.9439202887759488</c:v>
                </c:pt>
                <c:pt idx="659">
                  <c:v>3.0778431213383652</c:v>
                </c:pt>
                <c:pt idx="660">
                  <c:v>3.0778431213383652</c:v>
                </c:pt>
                <c:pt idx="661">
                  <c:v>3.0518811403171742</c:v>
                </c:pt>
                <c:pt idx="662">
                  <c:v>3.0917858569031327</c:v>
                </c:pt>
                <c:pt idx="663">
                  <c:v>3.096998199783521</c:v>
                </c:pt>
                <c:pt idx="664">
                  <c:v>3.0858678917220828</c:v>
                </c:pt>
                <c:pt idx="665">
                  <c:v>3.0501189823434123</c:v>
                </c:pt>
                <c:pt idx="666">
                  <c:v>3.0921336197811127</c:v>
                </c:pt>
                <c:pt idx="667">
                  <c:v>3.0303128054583293</c:v>
                </c:pt>
                <c:pt idx="668">
                  <c:v>3.0561061739142112</c:v>
                </c:pt>
                <c:pt idx="669">
                  <c:v>2.9928229562257491</c:v>
                </c:pt>
                <c:pt idx="670">
                  <c:v>3.1632975852586527</c:v>
                </c:pt>
                <c:pt idx="671">
                  <c:v>3.2338930897803411</c:v>
                </c:pt>
                <c:pt idx="672">
                  <c:v>3.221900861493153</c:v>
                </c:pt>
                <c:pt idx="673">
                  <c:v>3.1937438845342623</c:v>
                </c:pt>
                <c:pt idx="674">
                  <c:v>3.1063583768765959</c:v>
                </c:pt>
                <c:pt idx="675">
                  <c:v>3.0841251526144733</c:v>
                </c:pt>
                <c:pt idx="676">
                  <c:v>3.0841251526144733</c:v>
                </c:pt>
                <c:pt idx="677">
                  <c:v>3.0841251526144728</c:v>
                </c:pt>
                <c:pt idx="678">
                  <c:v>3.0917858569031327</c:v>
                </c:pt>
                <c:pt idx="679">
                  <c:v>3.1700886999564224</c:v>
                </c:pt>
                <c:pt idx="680">
                  <c:v>3.1721231992780248</c:v>
                </c:pt>
                <c:pt idx="681">
                  <c:v>3.1356431660053614</c:v>
                </c:pt>
                <c:pt idx="682">
                  <c:v>3.166355389341649</c:v>
                </c:pt>
                <c:pt idx="683">
                  <c:v>3.1397554866787059</c:v>
                </c:pt>
                <c:pt idx="684">
                  <c:v>3.1397554866787059</c:v>
                </c:pt>
                <c:pt idx="685">
                  <c:v>3.1184501251095393</c:v>
                </c:pt>
                <c:pt idx="686">
                  <c:v>3.1486470895646046</c:v>
                </c:pt>
                <c:pt idx="687">
                  <c:v>3.1486470895646046</c:v>
                </c:pt>
                <c:pt idx="688">
                  <c:v>3.2112035060066262</c:v>
                </c:pt>
                <c:pt idx="689">
                  <c:v>3.1819382745106326</c:v>
                </c:pt>
                <c:pt idx="690">
                  <c:v>3.2474969683034023</c:v>
                </c:pt>
                <c:pt idx="691">
                  <c:v>3.232895436481948</c:v>
                </c:pt>
                <c:pt idx="692">
                  <c:v>3.232895436481948</c:v>
                </c:pt>
                <c:pt idx="693">
                  <c:v>3.2902593289303055</c:v>
                </c:pt>
                <c:pt idx="694">
                  <c:v>3.3033056105951277</c:v>
                </c:pt>
                <c:pt idx="695">
                  <c:v>3.443554053028504</c:v>
                </c:pt>
                <c:pt idx="696">
                  <c:v>3.4625492504552131</c:v>
                </c:pt>
                <c:pt idx="697">
                  <c:v>3.4513516130625188</c:v>
                </c:pt>
                <c:pt idx="698">
                  <c:v>3.3948094471996075</c:v>
                </c:pt>
                <c:pt idx="699">
                  <c:v>3.3833876260276456</c:v>
                </c:pt>
                <c:pt idx="700">
                  <c:v>3.3101343246629473</c:v>
                </c:pt>
                <c:pt idx="701">
                  <c:v>3.2292347374025492</c:v>
                </c:pt>
                <c:pt idx="702">
                  <c:v>3.1346142428715065</c:v>
                </c:pt>
                <c:pt idx="703">
                  <c:v>3.0743475573242862</c:v>
                </c:pt>
                <c:pt idx="704">
                  <c:v>3.0743475573242862</c:v>
                </c:pt>
                <c:pt idx="705">
                  <c:v>3.1077426721221686</c:v>
                </c:pt>
                <c:pt idx="706">
                  <c:v>3.1004682268661385</c:v>
                </c:pt>
                <c:pt idx="707">
                  <c:v>3.023207724625709</c:v>
                </c:pt>
                <c:pt idx="708">
                  <c:v>2.8867513459481291</c:v>
                </c:pt>
                <c:pt idx="709">
                  <c:v>2.9108621196425455</c:v>
                </c:pt>
                <c:pt idx="710">
                  <c:v>2.9108621196425455</c:v>
                </c:pt>
                <c:pt idx="711">
                  <c:v>2.9409968319587492</c:v>
                </c:pt>
                <c:pt idx="712">
                  <c:v>2.9439202887759488</c:v>
                </c:pt>
                <c:pt idx="713">
                  <c:v>2.9942597412130865</c:v>
                </c:pt>
                <c:pt idx="714">
                  <c:v>3.0561061739142112</c:v>
                </c:pt>
                <c:pt idx="715">
                  <c:v>3.0561061739142112</c:v>
                </c:pt>
                <c:pt idx="716">
                  <c:v>3.0655912092719722</c:v>
                </c:pt>
                <c:pt idx="717">
                  <c:v>2.9888682361946528</c:v>
                </c:pt>
                <c:pt idx="718">
                  <c:v>3.0487085226229778</c:v>
                </c:pt>
                <c:pt idx="719">
                  <c:v>3.1383853118429226</c:v>
                </c:pt>
                <c:pt idx="720">
                  <c:v>3.2142157357120453</c:v>
                </c:pt>
                <c:pt idx="721">
                  <c:v>3.1163805860307319</c:v>
                </c:pt>
                <c:pt idx="722">
                  <c:v>3.130151667629796</c:v>
                </c:pt>
                <c:pt idx="723">
                  <c:v>3.0956090998258694</c:v>
                </c:pt>
                <c:pt idx="724">
                  <c:v>3.0324410834723872</c:v>
                </c:pt>
                <c:pt idx="725">
                  <c:v>3.0739977823009887</c:v>
                </c:pt>
                <c:pt idx="726">
                  <c:v>2.9380704662271335</c:v>
                </c:pt>
                <c:pt idx="727">
                  <c:v>2.9138158110363057</c:v>
                </c:pt>
                <c:pt idx="728">
                  <c:v>2.9204506943388915</c:v>
                </c:pt>
                <c:pt idx="729">
                  <c:v>2.9409968319587496</c:v>
                </c:pt>
                <c:pt idx="730">
                  <c:v>2.7986171700531184</c:v>
                </c:pt>
                <c:pt idx="731">
                  <c:v>2.8135616275919864</c:v>
                </c:pt>
                <c:pt idx="732">
                  <c:v>2.7859092452161196</c:v>
                </c:pt>
                <c:pt idx="733">
                  <c:v>2.9318422407645301</c:v>
                </c:pt>
                <c:pt idx="734">
                  <c:v>3.0652404350607116</c:v>
                </c:pt>
                <c:pt idx="735">
                  <c:v>3.0221405217715032</c:v>
                </c:pt>
                <c:pt idx="736">
                  <c:v>3.003940064977745</c:v>
                </c:pt>
                <c:pt idx="737">
                  <c:v>3.003940064977745</c:v>
                </c:pt>
                <c:pt idx="738">
                  <c:v>3.0082324321088287</c:v>
                </c:pt>
                <c:pt idx="739">
                  <c:v>3.0872613746974724</c:v>
                </c:pt>
                <c:pt idx="740">
                  <c:v>3.0416464132482268</c:v>
                </c:pt>
                <c:pt idx="741">
                  <c:v>2.9486647242292539</c:v>
                </c:pt>
                <c:pt idx="742">
                  <c:v>2.9067958933491358</c:v>
                </c:pt>
                <c:pt idx="743">
                  <c:v>2.8923332100312122</c:v>
                </c:pt>
                <c:pt idx="744">
                  <c:v>2.8211947442433392</c:v>
                </c:pt>
                <c:pt idx="745">
                  <c:v>2.7411637117515726</c:v>
                </c:pt>
                <c:pt idx="746">
                  <c:v>2.5661150084435298</c:v>
                </c:pt>
                <c:pt idx="747">
                  <c:v>2.6314883968575091</c:v>
                </c:pt>
                <c:pt idx="748">
                  <c:v>2.5631801483934518</c:v>
                </c:pt>
                <c:pt idx="749">
                  <c:v>2.5016123832698454</c:v>
                </c:pt>
                <c:pt idx="750">
                  <c:v>2.3623389175328597</c:v>
                </c:pt>
                <c:pt idx="751">
                  <c:v>2.4340770700197027</c:v>
                </c:pt>
                <c:pt idx="752">
                  <c:v>2.510622593392247</c:v>
                </c:pt>
                <c:pt idx="753">
                  <c:v>2.4955875038249635</c:v>
                </c:pt>
                <c:pt idx="754">
                  <c:v>2.4813281216541734</c:v>
                </c:pt>
                <c:pt idx="755">
                  <c:v>2.4813281216541734</c:v>
                </c:pt>
                <c:pt idx="756">
                  <c:v>2.4323094030690382</c:v>
                </c:pt>
                <c:pt idx="757">
                  <c:v>2.4543137358492895</c:v>
                </c:pt>
                <c:pt idx="758">
                  <c:v>2.556038601690775</c:v>
                </c:pt>
                <c:pt idx="759">
                  <c:v>2.6257615382806523</c:v>
                </c:pt>
                <c:pt idx="760">
                  <c:v>2.7262168043859112</c:v>
                </c:pt>
                <c:pt idx="761">
                  <c:v>2.7700394003641704</c:v>
                </c:pt>
                <c:pt idx="762">
                  <c:v>2.7889952713577544</c:v>
                </c:pt>
                <c:pt idx="763">
                  <c:v>2.8447272484861479</c:v>
                </c:pt>
                <c:pt idx="764">
                  <c:v>2.7653773391631367</c:v>
                </c:pt>
                <c:pt idx="765">
                  <c:v>2.7325202042558927</c:v>
                </c:pt>
                <c:pt idx="766">
                  <c:v>2.8763028838371478</c:v>
                </c:pt>
                <c:pt idx="767">
                  <c:v>2.9318422407645301</c:v>
                </c:pt>
                <c:pt idx="768">
                  <c:v>2.8878685818846677</c:v>
                </c:pt>
                <c:pt idx="769">
                  <c:v>3.0928290282279525</c:v>
                </c:pt>
                <c:pt idx="770">
                  <c:v>3.2185617572055749</c:v>
                </c:pt>
                <c:pt idx="771">
                  <c:v>3.2098638298924169</c:v>
                </c:pt>
                <c:pt idx="772">
                  <c:v>3.263351400874781</c:v>
                </c:pt>
                <c:pt idx="773">
                  <c:v>3.4291602157009575</c:v>
                </c:pt>
                <c:pt idx="774">
                  <c:v>3.5668726701637796</c:v>
                </c:pt>
                <c:pt idx="775">
                  <c:v>3.5626497327522348</c:v>
                </c:pt>
                <c:pt idx="776">
                  <c:v>3.6094261301829285</c:v>
                </c:pt>
                <c:pt idx="777">
                  <c:v>3.723797345005051</c:v>
                </c:pt>
                <c:pt idx="778">
                  <c:v>3.6851926898454468</c:v>
                </c:pt>
                <c:pt idx="779">
                  <c:v>3.6746735646110946</c:v>
                </c:pt>
                <c:pt idx="780">
                  <c:v>3.6965546295208815</c:v>
                </c:pt>
                <c:pt idx="781">
                  <c:v>3.6623630658096222</c:v>
                </c:pt>
                <c:pt idx="782">
                  <c:v>3.5971912579450867</c:v>
                </c:pt>
                <c:pt idx="783">
                  <c:v>3.5971912579450871</c:v>
                </c:pt>
                <c:pt idx="784">
                  <c:v>3.5626497327522348</c:v>
                </c:pt>
                <c:pt idx="785">
                  <c:v>3.5372062361402179</c:v>
                </c:pt>
                <c:pt idx="786">
                  <c:v>3.5250257377234719</c:v>
                </c:pt>
                <c:pt idx="787">
                  <c:v>3.4609961894887888</c:v>
                </c:pt>
                <c:pt idx="788">
                  <c:v>3.4597532387611523</c:v>
                </c:pt>
                <c:pt idx="789">
                  <c:v>3.4272783019678728</c:v>
                </c:pt>
                <c:pt idx="790">
                  <c:v>3.3421389069154923</c:v>
                </c:pt>
                <c:pt idx="791">
                  <c:v>3.3085097187615737</c:v>
                </c:pt>
                <c:pt idx="792">
                  <c:v>3.2128773156099961</c:v>
                </c:pt>
                <c:pt idx="793">
                  <c:v>3.2128773156099957</c:v>
                </c:pt>
                <c:pt idx="794">
                  <c:v>3.2018140019722892</c:v>
                </c:pt>
                <c:pt idx="795">
                  <c:v>3.1816003276906564</c:v>
                </c:pt>
                <c:pt idx="796">
                  <c:v>3.3205129801903959</c:v>
                </c:pt>
                <c:pt idx="797">
                  <c:v>3.3205129801903959</c:v>
                </c:pt>
                <c:pt idx="798">
                  <c:v>3.2817514337801823</c:v>
                </c:pt>
                <c:pt idx="799">
                  <c:v>3.2817514337801823</c:v>
                </c:pt>
                <c:pt idx="800">
                  <c:v>3.2182276562281658</c:v>
                </c:pt>
                <c:pt idx="801">
                  <c:v>3.1666949630880636</c:v>
                </c:pt>
                <c:pt idx="802">
                  <c:v>3.1802481812939782</c:v>
                </c:pt>
                <c:pt idx="803">
                  <c:v>3.1802481812939782</c:v>
                </c:pt>
                <c:pt idx="804">
                  <c:v>3.0896984576394808</c:v>
                </c:pt>
                <c:pt idx="805">
                  <c:v>2.994977875230179</c:v>
                </c:pt>
                <c:pt idx="806">
                  <c:v>2.9413624229641959</c:v>
                </c:pt>
                <c:pt idx="807">
                  <c:v>3.0391707980607054</c:v>
                </c:pt>
                <c:pt idx="808">
                  <c:v>2.9413624229641955</c:v>
                </c:pt>
                <c:pt idx="809">
                  <c:v>2.873684832428399</c:v>
                </c:pt>
                <c:pt idx="810">
                  <c:v>2.8363993531099565</c:v>
                </c:pt>
                <c:pt idx="811">
                  <c:v>2.8363993531099565</c:v>
                </c:pt>
                <c:pt idx="812">
                  <c:v>2.9726350498816614</c:v>
                </c:pt>
                <c:pt idx="813">
                  <c:v>3.0427067745888752</c:v>
                </c:pt>
                <c:pt idx="814">
                  <c:v>2.9863488694210645</c:v>
                </c:pt>
                <c:pt idx="815">
                  <c:v>3.0610280092018569</c:v>
                </c:pt>
                <c:pt idx="816">
                  <c:v>3.1714451778533133</c:v>
                </c:pt>
                <c:pt idx="817">
                  <c:v>3.1819382745106326</c:v>
                </c:pt>
                <c:pt idx="818">
                  <c:v>3.1711061127774682</c:v>
                </c:pt>
                <c:pt idx="819">
                  <c:v>3.2008063500190986</c:v>
                </c:pt>
                <c:pt idx="820">
                  <c:v>3.1913862562465138</c:v>
                </c:pt>
                <c:pt idx="821">
                  <c:v>3.2498138904529053</c:v>
                </c:pt>
                <c:pt idx="822">
                  <c:v>3.2938522076121441</c:v>
                </c:pt>
                <c:pt idx="823">
                  <c:v>3.2938522076121441</c:v>
                </c:pt>
                <c:pt idx="824">
                  <c:v>3.1728010758108782</c:v>
                </c:pt>
                <c:pt idx="825">
                  <c:v>3.2118731345210483</c:v>
                </c:pt>
                <c:pt idx="826">
                  <c:v>3.2038283551139659</c:v>
                </c:pt>
                <c:pt idx="827">
                  <c:v>3.0994276266599972</c:v>
                </c:pt>
                <c:pt idx="828">
                  <c:v>3.0107334868819362</c:v>
                </c:pt>
                <c:pt idx="829">
                  <c:v>2.9856286598677433</c:v>
                </c:pt>
                <c:pt idx="830">
                  <c:v>2.9023535129233484</c:v>
                </c:pt>
                <c:pt idx="831">
                  <c:v>2.9023535129233484</c:v>
                </c:pt>
                <c:pt idx="832">
                  <c:v>2.8189069795117021</c:v>
                </c:pt>
                <c:pt idx="833">
                  <c:v>2.78745268535957</c:v>
                </c:pt>
                <c:pt idx="834">
                  <c:v>2.6187906590884729</c:v>
                </c:pt>
                <c:pt idx="835">
                  <c:v>2.7532971436607276</c:v>
                </c:pt>
                <c:pt idx="836">
                  <c:v>2.8424584240535729</c:v>
                </c:pt>
                <c:pt idx="837">
                  <c:v>2.8993881445752012</c:v>
                </c:pt>
                <c:pt idx="838">
                  <c:v>2.8089718013260949</c:v>
                </c:pt>
                <c:pt idx="839">
                  <c:v>2.8089718013260945</c:v>
                </c:pt>
                <c:pt idx="840">
                  <c:v>2.8341238618867961</c:v>
                </c:pt>
                <c:pt idx="841">
                  <c:v>2.8341238618867961</c:v>
                </c:pt>
                <c:pt idx="842">
                  <c:v>2.8567972141159492</c:v>
                </c:pt>
                <c:pt idx="843">
                  <c:v>2.8089718013260945</c:v>
                </c:pt>
                <c:pt idx="844">
                  <c:v>2.7202941017470885</c:v>
                </c:pt>
                <c:pt idx="845">
                  <c:v>2.7920778865803833</c:v>
                </c:pt>
                <c:pt idx="846">
                  <c:v>2.6920831762701893</c:v>
                </c:pt>
                <c:pt idx="847">
                  <c:v>2.6449383593443501</c:v>
                </c:pt>
                <c:pt idx="848">
                  <c:v>2.6449383593443501</c:v>
                </c:pt>
                <c:pt idx="849">
                  <c:v>2.7384164641600433</c:v>
                </c:pt>
                <c:pt idx="850">
                  <c:v>2.8515228906145791</c:v>
                </c:pt>
                <c:pt idx="851">
                  <c:v>2.8601827146688241</c:v>
                </c:pt>
                <c:pt idx="852">
                  <c:v>2.7529065773570873</c:v>
                </c:pt>
                <c:pt idx="853">
                  <c:v>2.7175257563745623</c:v>
                </c:pt>
                <c:pt idx="854">
                  <c:v>2.8269060560022807</c:v>
                </c:pt>
                <c:pt idx="855">
                  <c:v>2.8386730202911781</c:v>
                </c:pt>
                <c:pt idx="856">
                  <c:v>2.8150899066984882</c:v>
                </c:pt>
                <c:pt idx="857">
                  <c:v>2.9119701050102011</c:v>
                </c:pt>
                <c:pt idx="858">
                  <c:v>3.0185804539533558</c:v>
                </c:pt>
                <c:pt idx="859">
                  <c:v>3.0185804539533558</c:v>
                </c:pt>
                <c:pt idx="860">
                  <c:v>3.0627838907259393</c:v>
                </c:pt>
                <c:pt idx="861">
                  <c:v>3.1799100548583521</c:v>
                </c:pt>
                <c:pt idx="862">
                  <c:v>3.1799100548583521</c:v>
                </c:pt>
                <c:pt idx="863">
                  <c:v>3.1799100548583521</c:v>
                </c:pt>
                <c:pt idx="864">
                  <c:v>3.1873405505132708</c:v>
                </c:pt>
                <c:pt idx="865">
                  <c:v>3.2951577376703889</c:v>
                </c:pt>
                <c:pt idx="866">
                  <c:v>3.189026884978909</c:v>
                </c:pt>
                <c:pt idx="867">
                  <c:v>3.0416464132482268</c:v>
                </c:pt>
                <c:pt idx="868">
                  <c:v>3.166355389341649</c:v>
                </c:pt>
                <c:pt idx="869">
                  <c:v>3.2554338362752198</c:v>
                </c:pt>
                <c:pt idx="870">
                  <c:v>3.2188958235054215</c:v>
                </c:pt>
                <c:pt idx="871">
                  <c:v>3.3042820052005957</c:v>
                </c:pt>
                <c:pt idx="872">
                  <c:v>3.3052581113728023</c:v>
                </c:pt>
                <c:pt idx="873">
                  <c:v>3.2961365458718879</c:v>
                </c:pt>
                <c:pt idx="874">
                  <c:v>3.2494830027169308</c:v>
                </c:pt>
                <c:pt idx="875">
                  <c:v>3.2511371046325128</c:v>
                </c:pt>
                <c:pt idx="876">
                  <c:v>3.2232355346496102</c:v>
                </c:pt>
                <c:pt idx="877">
                  <c:v>3.3243966224302723</c:v>
                </c:pt>
                <c:pt idx="878">
                  <c:v>3.3243966224302723</c:v>
                </c:pt>
                <c:pt idx="879">
                  <c:v>3.3450332303024966</c:v>
                </c:pt>
                <c:pt idx="880">
                  <c:v>3.2840441891909951</c:v>
                </c:pt>
                <c:pt idx="881">
                  <c:v>3.3101343246629478</c:v>
                </c:pt>
                <c:pt idx="882">
                  <c:v>3.3260134683127562</c:v>
                </c:pt>
                <c:pt idx="883">
                  <c:v>3.3414953834846841</c:v>
                </c:pt>
                <c:pt idx="884">
                  <c:v>3.4077710054823895</c:v>
                </c:pt>
                <c:pt idx="885">
                  <c:v>3.4485465225627405</c:v>
                </c:pt>
                <c:pt idx="886">
                  <c:v>3.519836262076399</c:v>
                </c:pt>
                <c:pt idx="887">
                  <c:v>3.5858143449053572</c:v>
                </c:pt>
                <c:pt idx="888">
                  <c:v>3.5514649408105461</c:v>
                </c:pt>
                <c:pt idx="889">
                  <c:v>3.4140758600966419</c:v>
                </c:pt>
                <c:pt idx="890">
                  <c:v>3.4435540530285036</c:v>
                </c:pt>
                <c:pt idx="891">
                  <c:v>3.4140758600966419</c:v>
                </c:pt>
                <c:pt idx="892">
                  <c:v>3.26993472691422</c:v>
                </c:pt>
                <c:pt idx="893">
                  <c:v>3.1561511881690087</c:v>
                </c:pt>
                <c:pt idx="894">
                  <c:v>3.3143545731498216</c:v>
                </c:pt>
                <c:pt idx="895">
                  <c:v>3.2801127701568795</c:v>
                </c:pt>
                <c:pt idx="896">
                  <c:v>3.2232355346496098</c:v>
                </c:pt>
                <c:pt idx="897">
                  <c:v>3.2232355346496098</c:v>
                </c:pt>
                <c:pt idx="898">
                  <c:v>3.1903753107833444</c:v>
                </c:pt>
                <c:pt idx="899">
                  <c:v>3.1469391170551133</c:v>
                </c:pt>
                <c:pt idx="900">
                  <c:v>3.1191396663286048</c:v>
                </c:pt>
                <c:pt idx="901">
                  <c:v>3.1987900938505054</c:v>
                </c:pt>
                <c:pt idx="902">
                  <c:v>3.1517191076194169</c:v>
                </c:pt>
                <c:pt idx="903">
                  <c:v>3.1342711934321343</c:v>
                </c:pt>
                <c:pt idx="904">
                  <c:v>3.0437667665299615</c:v>
                </c:pt>
                <c:pt idx="905">
                  <c:v>3.052585718680553</c:v>
                </c:pt>
                <c:pt idx="906">
                  <c:v>3.1598965547244009</c:v>
                </c:pt>
                <c:pt idx="907">
                  <c:v>3.1609172481199774</c:v>
                </c:pt>
                <c:pt idx="908">
                  <c:v>3.0075174630120736</c:v>
                </c:pt>
                <c:pt idx="909">
                  <c:v>3.0075174630120745</c:v>
                </c:pt>
                <c:pt idx="910">
                  <c:v>3.1421518549506628</c:v>
                </c:pt>
                <c:pt idx="911">
                  <c:v>3.1592159092550673</c:v>
                </c:pt>
                <c:pt idx="912">
                  <c:v>3.119139666328604</c:v>
                </c:pt>
                <c:pt idx="913">
                  <c:v>3.1136190608219847</c:v>
                </c:pt>
                <c:pt idx="914">
                  <c:v>3.2285687098122131</c:v>
                </c:pt>
                <c:pt idx="915">
                  <c:v>3.2285687098122127</c:v>
                </c:pt>
                <c:pt idx="916">
                  <c:v>3.1136190608219847</c:v>
                </c:pt>
                <c:pt idx="917">
                  <c:v>3.0627838907259393</c:v>
                </c:pt>
                <c:pt idx="918">
                  <c:v>2.9881486338642054</c:v>
                </c:pt>
                <c:pt idx="919">
                  <c:v>2.9664793948382653</c:v>
                </c:pt>
                <c:pt idx="920">
                  <c:v>2.9881486338642054</c:v>
                </c:pt>
                <c:pt idx="921">
                  <c:v>2.9519448664606962</c:v>
                </c:pt>
                <c:pt idx="922">
                  <c:v>2.9519448664606962</c:v>
                </c:pt>
                <c:pt idx="923">
                  <c:v>3.042353361872125</c:v>
                </c:pt>
                <c:pt idx="924">
                  <c:v>3.1452302170555928</c:v>
                </c:pt>
                <c:pt idx="925">
                  <c:v>3.0480030480045723</c:v>
                </c:pt>
                <c:pt idx="926">
                  <c:v>3.0596225784532067</c:v>
                </c:pt>
                <c:pt idx="927">
                  <c:v>3.1004682268661377</c:v>
                </c:pt>
                <c:pt idx="928">
                  <c:v>3.1377000000514039</c:v>
                </c:pt>
                <c:pt idx="929">
                  <c:v>3.2348904353984325</c:v>
                </c:pt>
                <c:pt idx="930">
                  <c:v>3.1981177259830997</c:v>
                </c:pt>
                <c:pt idx="931">
                  <c:v>3.1673740013639256</c:v>
                </c:pt>
                <c:pt idx="932">
                  <c:v>3.0813347198761094</c:v>
                </c:pt>
                <c:pt idx="933">
                  <c:v>3.0813347198761094</c:v>
                </c:pt>
                <c:pt idx="934">
                  <c:v>3.0952617274295759</c:v>
                </c:pt>
                <c:pt idx="935">
                  <c:v>3.2098638298924165</c:v>
                </c:pt>
                <c:pt idx="936">
                  <c:v>3.3101343246629482</c:v>
                </c:pt>
                <c:pt idx="937">
                  <c:v>3.2299006276534459</c:v>
                </c:pt>
                <c:pt idx="938">
                  <c:v>3.3437471736496946</c:v>
                </c:pt>
                <c:pt idx="939">
                  <c:v>3.4228831461588145</c:v>
                </c:pt>
                <c:pt idx="940">
                  <c:v>3.3760701210676287</c:v>
                </c:pt>
                <c:pt idx="941">
                  <c:v>3.2421949289006742</c:v>
                </c:pt>
                <c:pt idx="942">
                  <c:v>3.2305663806498304</c:v>
                </c:pt>
                <c:pt idx="943">
                  <c:v>3.1394129990325617</c:v>
                </c:pt>
                <c:pt idx="944">
                  <c:v>3.1619376120293063</c:v>
                </c:pt>
                <c:pt idx="945">
                  <c:v>3.0917858569031327</c:v>
                </c:pt>
                <c:pt idx="946">
                  <c:v>2.9985659655012373</c:v>
                </c:pt>
                <c:pt idx="947">
                  <c:v>3.0171552506378609</c:v>
                </c:pt>
                <c:pt idx="948">
                  <c:v>3.0869130629262163</c:v>
                </c:pt>
                <c:pt idx="949">
                  <c:v>3.1632975852586531</c:v>
                </c:pt>
                <c:pt idx="950">
                  <c:v>3.2801127701568795</c:v>
                </c:pt>
                <c:pt idx="951">
                  <c:v>3.2850263087930314</c:v>
                </c:pt>
                <c:pt idx="952">
                  <c:v>3.2817514337801819</c:v>
                </c:pt>
                <c:pt idx="953">
                  <c:v>3.2817514337801819</c:v>
                </c:pt>
                <c:pt idx="954">
                  <c:v>3.1513779201642773</c:v>
                </c:pt>
                <c:pt idx="955">
                  <c:v>3.1513779201642773</c:v>
                </c:pt>
                <c:pt idx="956">
                  <c:v>3.2122078964308134</c:v>
                </c:pt>
                <c:pt idx="957">
                  <c:v>3.2702635453299447</c:v>
                </c:pt>
                <c:pt idx="958">
                  <c:v>3.3137056539907586</c:v>
                </c:pt>
                <c:pt idx="959">
                  <c:v>3.2567547670807548</c:v>
                </c:pt>
                <c:pt idx="960">
                  <c:v>3.2408680637217575</c:v>
                </c:pt>
                <c:pt idx="961">
                  <c:v>3.3849762947661892</c:v>
                </c:pt>
                <c:pt idx="962">
                  <c:v>3.3849762947661888</c:v>
                </c:pt>
                <c:pt idx="963">
                  <c:v>3.3849762947661888</c:v>
                </c:pt>
                <c:pt idx="964">
                  <c:v>3.2830617757903848</c:v>
                </c:pt>
                <c:pt idx="965">
                  <c:v>3.3305364610344035</c:v>
                </c:pt>
                <c:pt idx="966">
                  <c:v>3.2643397461806307</c:v>
                </c:pt>
                <c:pt idx="967">
                  <c:v>3.1325553827197461</c:v>
                </c:pt>
                <c:pt idx="968">
                  <c:v>3.1132736979391273</c:v>
                </c:pt>
                <c:pt idx="969">
                  <c:v>3.0096618607626064</c:v>
                </c:pt>
                <c:pt idx="970">
                  <c:v>3.0096618607626069</c:v>
                </c:pt>
                <c:pt idx="971">
                  <c:v>3.166355389341649</c:v>
                </c:pt>
                <c:pt idx="972">
                  <c:v>3.1575136536709199</c:v>
                </c:pt>
                <c:pt idx="973">
                  <c:v>3.2974411715100991</c:v>
                </c:pt>
                <c:pt idx="974">
                  <c:v>3.2797849391860789</c:v>
                </c:pt>
                <c:pt idx="975">
                  <c:v>3.1987900938505054</c:v>
                </c:pt>
                <c:pt idx="976">
                  <c:v>3.1527424484465203</c:v>
                </c:pt>
                <c:pt idx="977">
                  <c:v>3.2679611216281512</c:v>
                </c:pt>
                <c:pt idx="978">
                  <c:v>3.3856115535303002</c:v>
                </c:pt>
                <c:pt idx="979">
                  <c:v>3.3856115535303002</c:v>
                </c:pt>
                <c:pt idx="980">
                  <c:v>3.338597993041359</c:v>
                </c:pt>
                <c:pt idx="981">
                  <c:v>3.2902593289303055</c:v>
                </c:pt>
                <c:pt idx="982">
                  <c:v>3.3344084287760061</c:v>
                </c:pt>
                <c:pt idx="983">
                  <c:v>3.2699347269142196</c:v>
                </c:pt>
                <c:pt idx="984">
                  <c:v>3.3075345721906757</c:v>
                </c:pt>
                <c:pt idx="985">
                  <c:v>3.3703322959236881</c:v>
                </c:pt>
                <c:pt idx="986">
                  <c:v>3.2961365458718879</c:v>
                </c:pt>
                <c:pt idx="987">
                  <c:v>3.2781452925609913</c:v>
                </c:pt>
                <c:pt idx="988">
                  <c:v>3.188352458221873</c:v>
                </c:pt>
                <c:pt idx="989">
                  <c:v>3.1462556684387226</c:v>
                </c:pt>
                <c:pt idx="990">
                  <c:v>3.2259032243548824</c:v>
                </c:pt>
                <c:pt idx="991">
                  <c:v>3.2428581578999207</c:v>
                </c:pt>
                <c:pt idx="992">
                  <c:v>3.1772037479384259</c:v>
                </c:pt>
                <c:pt idx="993">
                  <c:v>3.1421518549506633</c:v>
                </c:pt>
                <c:pt idx="994">
                  <c:v>3.2577451136954307</c:v>
                </c:pt>
                <c:pt idx="995">
                  <c:v>3.3642650861506844</c:v>
                </c:pt>
                <c:pt idx="996">
                  <c:v>3.3075345721906757</c:v>
                </c:pt>
                <c:pt idx="997">
                  <c:v>3.4609961894887884</c:v>
                </c:pt>
                <c:pt idx="998">
                  <c:v>3.4609961894887884</c:v>
                </c:pt>
                <c:pt idx="999">
                  <c:v>3.4516631490664982</c:v>
                </c:pt>
                <c:pt idx="1000">
                  <c:v>3.5155568243090936</c:v>
                </c:pt>
                <c:pt idx="1001">
                  <c:v>3.5155568243090936</c:v>
                </c:pt>
                <c:pt idx="1002">
                  <c:v>3.4529090120015167</c:v>
                </c:pt>
                <c:pt idx="1003">
                  <c:v>3.5466173494832955</c:v>
                </c:pt>
                <c:pt idx="1004">
                  <c:v>3.4628597790644613</c:v>
                </c:pt>
                <c:pt idx="1005">
                  <c:v>3.5560035560053342</c:v>
                </c:pt>
                <c:pt idx="1006">
                  <c:v>3.6420483424897392</c:v>
                </c:pt>
                <c:pt idx="1007">
                  <c:v>3.6854844591891487</c:v>
                </c:pt>
                <c:pt idx="1008">
                  <c:v>3.6141894791775728</c:v>
                </c:pt>
                <c:pt idx="1009">
                  <c:v>3.5042217242168228</c:v>
                </c:pt>
                <c:pt idx="1010">
                  <c:v>3.5042217242168228</c:v>
                </c:pt>
                <c:pt idx="1011">
                  <c:v>3.4746393020815689</c:v>
                </c:pt>
                <c:pt idx="1012">
                  <c:v>3.4222548059706561</c:v>
                </c:pt>
                <c:pt idx="1013">
                  <c:v>3.3995572134193925</c:v>
                </c:pt>
                <c:pt idx="1014">
                  <c:v>3.5115783909374607</c:v>
                </c:pt>
                <c:pt idx="1015">
                  <c:v>3.4805141135504183</c:v>
                </c:pt>
                <c:pt idx="1016">
                  <c:v>3.5158626711776795</c:v>
                </c:pt>
                <c:pt idx="1017">
                  <c:v>3.5942008249251276</c:v>
                </c:pt>
                <c:pt idx="1018">
                  <c:v>3.6328844548602963</c:v>
                </c:pt>
                <c:pt idx="1019">
                  <c:v>3.6417530931404256</c:v>
                </c:pt>
                <c:pt idx="1020">
                  <c:v>3.7255294781377217</c:v>
                </c:pt>
                <c:pt idx="1021">
                  <c:v>3.7677179996293764</c:v>
                </c:pt>
                <c:pt idx="1022">
                  <c:v>3.7677179996293764</c:v>
                </c:pt>
                <c:pt idx="1023">
                  <c:v>3.7448172070180532</c:v>
                </c:pt>
                <c:pt idx="1024">
                  <c:v>3.7327380477785117</c:v>
                </c:pt>
                <c:pt idx="1025">
                  <c:v>3.7725665089586058</c:v>
                </c:pt>
                <c:pt idx="1026">
                  <c:v>3.7416573867739413</c:v>
                </c:pt>
                <c:pt idx="1027">
                  <c:v>3.7324499722968727</c:v>
                </c:pt>
                <c:pt idx="1028">
                  <c:v>3.6644176876070378</c:v>
                </c:pt>
                <c:pt idx="1029">
                  <c:v>3.6308119889254429</c:v>
                </c:pt>
                <c:pt idx="1030">
                  <c:v>3.6064458422251713</c:v>
                </c:pt>
                <c:pt idx="1031">
                  <c:v>3.5716927705657753</c:v>
                </c:pt>
                <c:pt idx="1032">
                  <c:v>3.4925419771801729</c:v>
                </c:pt>
                <c:pt idx="1033">
                  <c:v>3.5828144160401254</c:v>
                </c:pt>
                <c:pt idx="1034">
                  <c:v>3.5372062361402188</c:v>
                </c:pt>
                <c:pt idx="1035">
                  <c:v>3.6441144181368843</c:v>
                </c:pt>
                <c:pt idx="1036">
                  <c:v>3.6441144181368843</c:v>
                </c:pt>
                <c:pt idx="1037">
                  <c:v>3.5786102907278443</c:v>
                </c:pt>
                <c:pt idx="1038">
                  <c:v>3.5435842373664301</c:v>
                </c:pt>
                <c:pt idx="1039">
                  <c:v>3.5435842373664301</c:v>
                </c:pt>
                <c:pt idx="1040">
                  <c:v>3.6275528645281296</c:v>
                </c:pt>
                <c:pt idx="1041">
                  <c:v>3.5192252324281745</c:v>
                </c:pt>
                <c:pt idx="1042">
                  <c:v>3.6073401871470976</c:v>
                </c:pt>
                <c:pt idx="1043">
                  <c:v>3.5623479028086464</c:v>
                </c:pt>
                <c:pt idx="1044">
                  <c:v>3.5623479028086464</c:v>
                </c:pt>
                <c:pt idx="1045">
                  <c:v>3.3935422543793479</c:v>
                </c:pt>
                <c:pt idx="1046">
                  <c:v>3.3205129801903963</c:v>
                </c:pt>
                <c:pt idx="1047">
                  <c:v>3.2860081348599235</c:v>
                </c:pt>
                <c:pt idx="1048">
                  <c:v>3.1073966561246449</c:v>
                </c:pt>
                <c:pt idx="1049">
                  <c:v>3.1073966561246449</c:v>
                </c:pt>
                <c:pt idx="1050">
                  <c:v>3.0753966437077729</c:v>
                </c:pt>
                <c:pt idx="1051">
                  <c:v>3.0203610123892952</c:v>
                </c:pt>
                <c:pt idx="1052">
                  <c:v>2.8564207996978035</c:v>
                </c:pt>
                <c:pt idx="1053">
                  <c:v>2.7214796734319413</c:v>
                </c:pt>
                <c:pt idx="1054">
                  <c:v>2.6518405051051097</c:v>
                </c:pt>
                <c:pt idx="1055">
                  <c:v>2.5961095790117485</c:v>
                </c:pt>
                <c:pt idx="1056">
                  <c:v>2.5476111517743769</c:v>
                </c:pt>
                <c:pt idx="1057">
                  <c:v>2.5421183275760093</c:v>
                </c:pt>
                <c:pt idx="1058">
                  <c:v>2.5230123657741865</c:v>
                </c:pt>
                <c:pt idx="1059">
                  <c:v>2.5421183275760093</c:v>
                </c:pt>
                <c:pt idx="1060">
                  <c:v>2.5344932262640794</c:v>
                </c:pt>
                <c:pt idx="1061">
                  <c:v>2.4384906313414016</c:v>
                </c:pt>
                <c:pt idx="1062">
                  <c:v>2.4450960356713831</c:v>
                </c:pt>
                <c:pt idx="1063">
                  <c:v>2.4327514402199966</c:v>
                </c:pt>
                <c:pt idx="1064">
                  <c:v>2.4327514402199961</c:v>
                </c:pt>
                <c:pt idx="1065">
                  <c:v>2.1220805372208682</c:v>
                </c:pt>
                <c:pt idx="1066">
                  <c:v>1.5780755940845035</c:v>
                </c:pt>
                <c:pt idx="1067">
                  <c:v>1.5780755940845035</c:v>
                </c:pt>
                <c:pt idx="1068">
                  <c:v>1.4940743169321027</c:v>
                </c:pt>
                <c:pt idx="1069">
                  <c:v>1.4591203713417611</c:v>
                </c:pt>
                <c:pt idx="1070">
                  <c:v>0.95602222496323586</c:v>
                </c:pt>
                <c:pt idx="1071">
                  <c:v>0.95602222496323586</c:v>
                </c:pt>
                <c:pt idx="1072">
                  <c:v>0.98045414098806527</c:v>
                </c:pt>
                <c:pt idx="1073">
                  <c:v>0.92166282641289066</c:v>
                </c:pt>
                <c:pt idx="1074">
                  <c:v>0.92166282641289066</c:v>
                </c:pt>
                <c:pt idx="1075">
                  <c:v>0.90755490962172358</c:v>
                </c:pt>
                <c:pt idx="1076">
                  <c:v>0.90755490962172358</c:v>
                </c:pt>
                <c:pt idx="1077">
                  <c:v>0.96942505962893244</c:v>
                </c:pt>
                <c:pt idx="1078">
                  <c:v>0.96942505962893244</c:v>
                </c:pt>
                <c:pt idx="1079">
                  <c:v>0.97825827229409523</c:v>
                </c:pt>
                <c:pt idx="1080">
                  <c:v>0.97825827229409523</c:v>
                </c:pt>
                <c:pt idx="1081">
                  <c:v>0.97825827229409534</c:v>
                </c:pt>
                <c:pt idx="1082">
                  <c:v>0.99136052923481455</c:v>
                </c:pt>
                <c:pt idx="1083">
                  <c:v>0.99136052923481455</c:v>
                </c:pt>
                <c:pt idx="1084">
                  <c:v>1.6111172908051052</c:v>
                </c:pt>
                <c:pt idx="1085">
                  <c:v>1.5990588629915499</c:v>
                </c:pt>
                <c:pt idx="1086">
                  <c:v>2.0229861883561067</c:v>
                </c:pt>
                <c:pt idx="1087">
                  <c:v>2.1266359926327989</c:v>
                </c:pt>
                <c:pt idx="1088">
                  <c:v>2.3477282545024769</c:v>
                </c:pt>
                <c:pt idx="1089">
                  <c:v>2.3831848212996656</c:v>
                </c:pt>
                <c:pt idx="1090">
                  <c:v>2.3659774855998932</c:v>
                </c:pt>
                <c:pt idx="1091">
                  <c:v>2.4158971707804429</c:v>
                </c:pt>
                <c:pt idx="1092">
                  <c:v>2.6502180880030415</c:v>
                </c:pt>
                <c:pt idx="1093">
                  <c:v>2.6265804254168184</c:v>
                </c:pt>
                <c:pt idx="1094">
                  <c:v>2.6323055024188426</c:v>
                </c:pt>
                <c:pt idx="1095">
                  <c:v>2.5753170803837198</c:v>
                </c:pt>
                <c:pt idx="1096">
                  <c:v>2.6635734748480244</c:v>
                </c:pt>
                <c:pt idx="1097">
                  <c:v>2.6732445752567768</c:v>
                </c:pt>
                <c:pt idx="1098">
                  <c:v>2.7187125352751749</c:v>
                </c:pt>
                <c:pt idx="1099">
                  <c:v>2.754078110104929</c:v>
                </c:pt>
                <c:pt idx="1100">
                  <c:v>2.8215758580234285</c:v>
                </c:pt>
                <c:pt idx="1101">
                  <c:v>2.9005005129815875</c:v>
                </c:pt>
                <c:pt idx="1102">
                  <c:v>2.9152915345095063</c:v>
                </c:pt>
                <c:pt idx="1103">
                  <c:v>2.9592210541478363</c:v>
                </c:pt>
                <c:pt idx="1104">
                  <c:v>2.9881486338642049</c:v>
                </c:pt>
                <c:pt idx="1105">
                  <c:v>2.9635781918020538</c:v>
                </c:pt>
                <c:pt idx="1106">
                  <c:v>2.9406311955015694</c:v>
                </c:pt>
                <c:pt idx="1107">
                  <c:v>2.9899473149600078</c:v>
                </c:pt>
                <c:pt idx="1108">
                  <c:v>3.0645387661869075</c:v>
                </c:pt>
                <c:pt idx="1109">
                  <c:v>3.2061768342487165</c:v>
                </c:pt>
                <c:pt idx="1110">
                  <c:v>3.2289017407801226</c:v>
                </c:pt>
                <c:pt idx="1111">
                  <c:v>3.3033056105951273</c:v>
                </c:pt>
                <c:pt idx="1112">
                  <c:v>3.2494830027169304</c:v>
                </c:pt>
                <c:pt idx="1113">
                  <c:v>3.184302898003982</c:v>
                </c:pt>
                <c:pt idx="1114">
                  <c:v>3.1448883256238465</c:v>
                </c:pt>
                <c:pt idx="1115">
                  <c:v>3.1694102432980462</c:v>
                </c:pt>
                <c:pt idx="1116">
                  <c:v>3.1469391170551124</c:v>
                </c:pt>
                <c:pt idx="1117">
                  <c:v>3.1056659978694716</c:v>
                </c:pt>
                <c:pt idx="1118">
                  <c:v>3.1194843797812042</c:v>
                </c:pt>
                <c:pt idx="1119">
                  <c:v>3.0928290282279525</c:v>
                </c:pt>
                <c:pt idx="1120">
                  <c:v>3.1084345885667033</c:v>
                </c:pt>
                <c:pt idx="1121">
                  <c:v>3.1700886999564224</c:v>
                </c:pt>
                <c:pt idx="1122">
                  <c:v>3.1700886999564224</c:v>
                </c:pt>
                <c:pt idx="1123">
                  <c:v>3.0603253745066814</c:v>
                </c:pt>
                <c:pt idx="1124">
                  <c:v>3.0767948691238205</c:v>
                </c:pt>
                <c:pt idx="1125">
                  <c:v>3.0767948691238205</c:v>
                </c:pt>
                <c:pt idx="1126">
                  <c:v>3.0711981480386652</c:v>
                </c:pt>
                <c:pt idx="1127">
                  <c:v>3.041292877312443</c:v>
                </c:pt>
                <c:pt idx="1128">
                  <c:v>3.0342135081274728</c:v>
                </c:pt>
                <c:pt idx="1129">
                  <c:v>3.0515287901295061</c:v>
                </c:pt>
                <c:pt idx="1130">
                  <c:v>3.1748338369862954</c:v>
                </c:pt>
                <c:pt idx="1131">
                  <c:v>3.0862163214518366</c:v>
                </c:pt>
                <c:pt idx="1132">
                  <c:v>3.0462386466711902</c:v>
                </c:pt>
                <c:pt idx="1133">
                  <c:v>3.1592159092550673</c:v>
                </c:pt>
                <c:pt idx="1134">
                  <c:v>3.1387279116269067</c:v>
                </c:pt>
                <c:pt idx="1135">
                  <c:v>3.1025483802211538</c:v>
                </c:pt>
                <c:pt idx="1136">
                  <c:v>3.1042807765704676</c:v>
                </c:pt>
                <c:pt idx="1137">
                  <c:v>3.1239621932645463</c:v>
                </c:pt>
                <c:pt idx="1138">
                  <c:v>3.1575136536709194</c:v>
                </c:pt>
                <c:pt idx="1139">
                  <c:v>3.0416464132482273</c:v>
                </c:pt>
                <c:pt idx="1140">
                  <c:v>2.8631886878732935</c:v>
                </c:pt>
                <c:pt idx="1141">
                  <c:v>2.975888771189982</c:v>
                </c:pt>
                <c:pt idx="1142">
                  <c:v>2.9071657853011761</c:v>
                </c:pt>
                <c:pt idx="1143">
                  <c:v>2.976250076208153</c:v>
                </c:pt>
                <c:pt idx="1144">
                  <c:v>3.1067045085147389</c:v>
                </c:pt>
                <c:pt idx="1145">
                  <c:v>3.313705653990759</c:v>
                </c:pt>
                <c:pt idx="1146">
                  <c:v>3.2567547670807548</c:v>
                </c:pt>
                <c:pt idx="1147">
                  <c:v>3.2567547670807548</c:v>
                </c:pt>
                <c:pt idx="1148">
                  <c:v>3.3935422543793483</c:v>
                </c:pt>
                <c:pt idx="1149">
                  <c:v>3.5277700166426071</c:v>
                </c:pt>
                <c:pt idx="1150">
                  <c:v>3.4724723924214334</c:v>
                </c:pt>
                <c:pt idx="1151">
                  <c:v>3.4946964425835976</c:v>
                </c:pt>
                <c:pt idx="1152">
                  <c:v>3.5011518841845515</c:v>
                </c:pt>
                <c:pt idx="1153">
                  <c:v>3.4096636859979177</c:v>
                </c:pt>
                <c:pt idx="1154">
                  <c:v>3.4541544255720424</c:v>
                </c:pt>
                <c:pt idx="1155">
                  <c:v>3.4541544255720424</c:v>
                </c:pt>
                <c:pt idx="1156">
                  <c:v>3.4974645194077558</c:v>
                </c:pt>
                <c:pt idx="1157">
                  <c:v>3.4974645194077558</c:v>
                </c:pt>
                <c:pt idx="1158">
                  <c:v>3.5716927705657753</c:v>
                </c:pt>
                <c:pt idx="1159">
                  <c:v>3.572896779624267</c:v>
                </c:pt>
                <c:pt idx="1160">
                  <c:v>3.4553993902639619</c:v>
                </c:pt>
                <c:pt idx="1161">
                  <c:v>3.4247674750360098</c:v>
                </c:pt>
                <c:pt idx="1162">
                  <c:v>3.3862466931200785</c:v>
                </c:pt>
                <c:pt idx="1163">
                  <c:v>3.4247674750360098</c:v>
                </c:pt>
                <c:pt idx="1164">
                  <c:v>3.4247674750360093</c:v>
                </c:pt>
                <c:pt idx="1165">
                  <c:v>3.3562652054079787</c:v>
                </c:pt>
                <c:pt idx="1166">
                  <c:v>3.4360517477045112</c:v>
                </c:pt>
                <c:pt idx="1167">
                  <c:v>3.41281582098375</c:v>
                </c:pt>
                <c:pt idx="1168">
                  <c:v>3.5170857926866499</c:v>
                </c:pt>
                <c:pt idx="1169">
                  <c:v>3.4329209481954486</c:v>
                </c:pt>
                <c:pt idx="1170">
                  <c:v>3.4014544643605449</c:v>
                </c:pt>
                <c:pt idx="1171">
                  <c:v>3.2636808825658497</c:v>
                </c:pt>
                <c:pt idx="1172">
                  <c:v>3.2931992485002457</c:v>
                </c:pt>
                <c:pt idx="1173">
                  <c:v>3.3337634131149221</c:v>
                </c:pt>
                <c:pt idx="1174">
                  <c:v>3.2804405683658779</c:v>
                </c:pt>
                <c:pt idx="1175">
                  <c:v>3.2527903654078787</c:v>
                </c:pt>
                <c:pt idx="1176">
                  <c:v>3.2235691165945815</c:v>
                </c:pt>
                <c:pt idx="1177">
                  <c:v>3.1575136536709194</c:v>
                </c:pt>
                <c:pt idx="1178">
                  <c:v>3.1274023024373312</c:v>
                </c:pt>
                <c:pt idx="1179">
                  <c:v>3.0641878714967778</c:v>
                </c:pt>
                <c:pt idx="1180">
                  <c:v>2.9646664756474639</c:v>
                </c:pt>
                <c:pt idx="1181">
                  <c:v>2.9646664756474639</c:v>
                </c:pt>
                <c:pt idx="1182">
                  <c:v>3.0299579471158213</c:v>
                </c:pt>
                <c:pt idx="1183">
                  <c:v>3.0299579471158213</c:v>
                </c:pt>
                <c:pt idx="1184">
                  <c:v>3.1025483802211538</c:v>
                </c:pt>
                <c:pt idx="1185">
                  <c:v>3.0655912092719722</c:v>
                </c:pt>
                <c:pt idx="1186">
                  <c:v>3.1184501251095398</c:v>
                </c:pt>
                <c:pt idx="1187">
                  <c:v>3.160577053613463</c:v>
                </c:pt>
                <c:pt idx="1188">
                  <c:v>3.181938274510633</c:v>
                </c:pt>
                <c:pt idx="1189">
                  <c:v>3.0704978406192232</c:v>
                </c:pt>
                <c:pt idx="1190">
                  <c:v>3.087261374697472</c:v>
                </c:pt>
                <c:pt idx="1191">
                  <c:v>3.1588755315231896</c:v>
                </c:pt>
                <c:pt idx="1192">
                  <c:v>3.2541123692687624</c:v>
                </c:pt>
                <c:pt idx="1193">
                  <c:v>3.2699347269142196</c:v>
                </c:pt>
                <c:pt idx="1194">
                  <c:v>3.274863536515026</c:v>
                </c:pt>
                <c:pt idx="1195">
                  <c:v>3.17686529747164</c:v>
                </c:pt>
                <c:pt idx="1196">
                  <c:v>3.2318974752183247</c:v>
                </c:pt>
                <c:pt idx="1197">
                  <c:v>3.2817514337801823</c:v>
                </c:pt>
                <c:pt idx="1198">
                  <c:v>3.3363427275534696</c:v>
                </c:pt>
                <c:pt idx="1199">
                  <c:v>3.2222345816102105</c:v>
                </c:pt>
                <c:pt idx="1200">
                  <c:v>3.2222345816102105</c:v>
                </c:pt>
                <c:pt idx="1201">
                  <c:v>3.2659863237109041</c:v>
                </c:pt>
                <c:pt idx="1202">
                  <c:v>3.2659863237109041</c:v>
                </c:pt>
                <c:pt idx="1203">
                  <c:v>3.2034927175503074</c:v>
                </c:pt>
                <c:pt idx="1204">
                  <c:v>3.1301516676297969</c:v>
                </c:pt>
                <c:pt idx="1205">
                  <c:v>3.1883524582218725</c:v>
                </c:pt>
                <c:pt idx="1206">
                  <c:v>3.1448883256238469</c:v>
                </c:pt>
                <c:pt idx="1207">
                  <c:v>3.1035879340718098</c:v>
                </c:pt>
                <c:pt idx="1208">
                  <c:v>3.1035879340718098</c:v>
                </c:pt>
                <c:pt idx="1209">
                  <c:v>3.1592159092550673</c:v>
                </c:pt>
                <c:pt idx="1210">
                  <c:v>3.1660157791739598</c:v>
                </c:pt>
                <c:pt idx="1211">
                  <c:v>3.1930704540819614</c:v>
                </c:pt>
                <c:pt idx="1212">
                  <c:v>3.313705653990759</c:v>
                </c:pt>
                <c:pt idx="1213">
                  <c:v>3.313705653990759</c:v>
                </c:pt>
                <c:pt idx="1214">
                  <c:v>3.2804405683658779</c:v>
                </c:pt>
                <c:pt idx="1215">
                  <c:v>3.2951577376703893</c:v>
                </c:pt>
                <c:pt idx="1216">
                  <c:v>3.2941786386329754</c:v>
                </c:pt>
                <c:pt idx="1217">
                  <c:v>3.1431783106392679</c:v>
                </c:pt>
                <c:pt idx="1218">
                  <c:v>3.011090610836324</c:v>
                </c:pt>
                <c:pt idx="1219">
                  <c:v>3.0274727740888867</c:v>
                </c:pt>
                <c:pt idx="1220">
                  <c:v>2.8833970407530867</c:v>
                </c:pt>
                <c:pt idx="1221">
                  <c:v>2.9614004243125041</c:v>
                </c:pt>
                <c:pt idx="1222">
                  <c:v>2.9614004243125041</c:v>
                </c:pt>
                <c:pt idx="1223">
                  <c:v>2.9409968319587496</c:v>
                </c:pt>
                <c:pt idx="1224">
                  <c:v>2.8815318506745009</c:v>
                </c:pt>
                <c:pt idx="1225">
                  <c:v>2.9186091841650312</c:v>
                </c:pt>
                <c:pt idx="1226">
                  <c:v>2.9186091841650312</c:v>
                </c:pt>
                <c:pt idx="1227">
                  <c:v>2.8070571587470603</c:v>
                </c:pt>
                <c:pt idx="1228">
                  <c:v>2.8150899066984887</c:v>
                </c:pt>
                <c:pt idx="1229">
                  <c:v>2.8680666748897079</c:v>
                </c:pt>
                <c:pt idx="1230">
                  <c:v>2.9082751788867984</c:v>
                </c:pt>
                <c:pt idx="1231">
                  <c:v>2.9082751788867984</c:v>
                </c:pt>
                <c:pt idx="1232">
                  <c:v>2.8967909571562758</c:v>
                </c:pt>
                <c:pt idx="1233">
                  <c:v>2.8348825619035698</c:v>
                </c:pt>
                <c:pt idx="1234">
                  <c:v>2.8135616275919859</c:v>
                </c:pt>
                <c:pt idx="1235">
                  <c:v>2.8208135789718245</c:v>
                </c:pt>
                <c:pt idx="1236">
                  <c:v>2.517892957660544</c:v>
                </c:pt>
                <c:pt idx="1237">
                  <c:v>2.512763119480955</c:v>
                </c:pt>
                <c:pt idx="1238">
                  <c:v>2.5059069999649064</c:v>
                </c:pt>
                <c:pt idx="1239">
                  <c:v>2.4748194242804269</c:v>
                </c:pt>
                <c:pt idx="1240">
                  <c:v>2.4600026226054728</c:v>
                </c:pt>
                <c:pt idx="1241">
                  <c:v>2.3334869381084133</c:v>
                </c:pt>
                <c:pt idx="1242">
                  <c:v>2.0991549759136956</c:v>
                </c:pt>
                <c:pt idx="1243">
                  <c:v>2.065070490087991</c:v>
                </c:pt>
                <c:pt idx="1244">
                  <c:v>2.0929990829645209</c:v>
                </c:pt>
                <c:pt idx="1245">
                  <c:v>2.1042711301653387</c:v>
                </c:pt>
                <c:pt idx="1246">
                  <c:v>2.065070490087991</c:v>
                </c:pt>
                <c:pt idx="1247">
                  <c:v>2.0991549759136956</c:v>
                </c:pt>
                <c:pt idx="1248">
                  <c:v>1.9821786645165247</c:v>
                </c:pt>
                <c:pt idx="1249">
                  <c:v>2.008048322256248</c:v>
                </c:pt>
                <c:pt idx="1250">
                  <c:v>2.0165977949672231</c:v>
                </c:pt>
                <c:pt idx="1251">
                  <c:v>2.0165977949672231</c:v>
                </c:pt>
                <c:pt idx="1252">
                  <c:v>1.9892182502962881</c:v>
                </c:pt>
                <c:pt idx="1253">
                  <c:v>1.9956942899464154</c:v>
                </c:pt>
                <c:pt idx="1254">
                  <c:v>1.7876517906827323</c:v>
                </c:pt>
                <c:pt idx="1255">
                  <c:v>1.813924634775425</c:v>
                </c:pt>
                <c:pt idx="1256">
                  <c:v>1.8062019796794171</c:v>
                </c:pt>
                <c:pt idx="1257">
                  <c:v>1.7652560812125986</c:v>
                </c:pt>
                <c:pt idx="1258">
                  <c:v>1.7388662725978936</c:v>
                </c:pt>
                <c:pt idx="1259">
                  <c:v>1.4919136877222159</c:v>
                </c:pt>
                <c:pt idx="1260">
                  <c:v>1.1216347516589491</c:v>
                </c:pt>
                <c:pt idx="1261">
                  <c:v>1.1158679538021425</c:v>
                </c:pt>
                <c:pt idx="1262">
                  <c:v>1.1158679538021423</c:v>
                </c:pt>
                <c:pt idx="1263">
                  <c:v>1.0905261628351504</c:v>
                </c:pt>
                <c:pt idx="1264">
                  <c:v>1.0905261628351504</c:v>
                </c:pt>
                <c:pt idx="1265">
                  <c:v>1.0905261628351504</c:v>
                </c:pt>
                <c:pt idx="1266">
                  <c:v>1.1216347516589491</c:v>
                </c:pt>
                <c:pt idx="1267">
                  <c:v>1.1216347516589491</c:v>
                </c:pt>
                <c:pt idx="1268">
                  <c:v>1.1216347516589491</c:v>
                </c:pt>
                <c:pt idx="1269">
                  <c:v>1.1216347516589491</c:v>
                </c:pt>
                <c:pt idx="1270">
                  <c:v>1.0915117266719427</c:v>
                </c:pt>
                <c:pt idx="1271">
                  <c:v>1.0915117266719427</c:v>
                </c:pt>
                <c:pt idx="1272">
                  <c:v>1.0915117266719427</c:v>
                </c:pt>
                <c:pt idx="1273">
                  <c:v>1.0905261628351506</c:v>
                </c:pt>
                <c:pt idx="1274">
                  <c:v>1.0605334425635524</c:v>
                </c:pt>
                <c:pt idx="1275">
                  <c:v>1.0574873852167088</c:v>
                </c:pt>
                <c:pt idx="1276">
                  <c:v>1.5581902930153659</c:v>
                </c:pt>
                <c:pt idx="1277">
                  <c:v>1.5726151085277964</c:v>
                </c:pt>
                <c:pt idx="1278">
                  <c:v>1.5436306873487362</c:v>
                </c:pt>
                <c:pt idx="1279">
                  <c:v>1.7026228975268705</c:v>
                </c:pt>
                <c:pt idx="1280">
                  <c:v>1.6720343670903364</c:v>
                </c:pt>
                <c:pt idx="1281">
                  <c:v>2.1840083500569034</c:v>
                </c:pt>
                <c:pt idx="1282">
                  <c:v>2.1815452745579762</c:v>
                </c:pt>
                <c:pt idx="1283">
                  <c:v>2.1992178472777417</c:v>
                </c:pt>
                <c:pt idx="1284">
                  <c:v>2.5011825160300925</c:v>
                </c:pt>
                <c:pt idx="1285">
                  <c:v>2.4856577849044128</c:v>
                </c:pt>
                <c:pt idx="1286">
                  <c:v>2.472646051221981</c:v>
                </c:pt>
                <c:pt idx="1287">
                  <c:v>2.70801280154532</c:v>
                </c:pt>
                <c:pt idx="1288">
                  <c:v>2.8451052099903049</c:v>
                </c:pt>
                <c:pt idx="1289">
                  <c:v>3.0645387661869066</c:v>
                </c:pt>
                <c:pt idx="1290">
                  <c:v>3.0980396160097099</c:v>
                </c:pt>
                <c:pt idx="1291">
                  <c:v>3.0886542289865599</c:v>
                </c:pt>
                <c:pt idx="1292">
                  <c:v>3.275520150764534</c:v>
                </c:pt>
                <c:pt idx="1293">
                  <c:v>3.3013519550606527</c:v>
                </c:pt>
                <c:pt idx="1294">
                  <c:v>3.3684175155612444</c:v>
                </c:pt>
                <c:pt idx="1295">
                  <c:v>3.4046141997974408</c:v>
                </c:pt>
                <c:pt idx="1296">
                  <c:v>3.3285987881499208</c:v>
                </c:pt>
                <c:pt idx="1297">
                  <c:v>3.2155535987192874</c:v>
                </c:pt>
                <c:pt idx="1298">
                  <c:v>3.1721231992780248</c:v>
                </c:pt>
                <c:pt idx="1299">
                  <c:v>3.12980812906018</c:v>
                </c:pt>
                <c:pt idx="1300">
                  <c:v>3.1673740013639256</c:v>
                </c:pt>
                <c:pt idx="1301">
                  <c:v>3.0952617274295759</c:v>
                </c:pt>
                <c:pt idx="1302">
                  <c:v>3.2118731345210487</c:v>
                </c:pt>
                <c:pt idx="1303">
                  <c:v>3.1274023024373316</c:v>
                </c:pt>
                <c:pt idx="1304">
                  <c:v>3.2155535987192874</c:v>
                </c:pt>
                <c:pt idx="1305">
                  <c:v>3.136328927230839</c:v>
                </c:pt>
                <c:pt idx="1306">
                  <c:v>3.166355389341649</c:v>
                </c:pt>
                <c:pt idx="1307">
                  <c:v>3.2653277923353805</c:v>
                </c:pt>
                <c:pt idx="1308">
                  <c:v>3.3712892782805599</c:v>
                </c:pt>
                <c:pt idx="1309">
                  <c:v>3.4150205843300347</c:v>
                </c:pt>
                <c:pt idx="1310">
                  <c:v>3.4879207843426516</c:v>
                </c:pt>
                <c:pt idx="1311">
                  <c:v>3.5118845842842465</c:v>
                </c:pt>
                <c:pt idx="1312">
                  <c:v>3.3935422543793479</c:v>
                </c:pt>
                <c:pt idx="1313">
                  <c:v>3.4681345114120519</c:v>
                </c:pt>
                <c:pt idx="1314">
                  <c:v>3.532643470897272</c:v>
                </c:pt>
                <c:pt idx="1315">
                  <c:v>3.4513516130625188</c:v>
                </c:pt>
                <c:pt idx="1316">
                  <c:v>3.5692835340214373</c:v>
                </c:pt>
                <c:pt idx="1317">
                  <c:v>3.6467690811433058</c:v>
                </c:pt>
                <c:pt idx="1318">
                  <c:v>3.6141894791775728</c:v>
                </c:pt>
                <c:pt idx="1319">
                  <c:v>3.6467690811433058</c:v>
                </c:pt>
                <c:pt idx="1320">
                  <c:v>3.5906090177405248</c:v>
                </c:pt>
                <c:pt idx="1321">
                  <c:v>3.6311081279079449</c:v>
                </c:pt>
                <c:pt idx="1322">
                  <c:v>3.6311081279079449</c:v>
                </c:pt>
                <c:pt idx="1323">
                  <c:v>3.5033010546582908</c:v>
                </c:pt>
                <c:pt idx="1324">
                  <c:v>3.4541544255720424</c:v>
                </c:pt>
                <c:pt idx="1325">
                  <c:v>3.3440687341806732</c:v>
                </c:pt>
                <c:pt idx="1326">
                  <c:v>3.2856808921030645</c:v>
                </c:pt>
                <c:pt idx="1327">
                  <c:v>3.2362197514337452</c:v>
                </c:pt>
                <c:pt idx="1328">
                  <c:v>3.3665016461206929</c:v>
                </c:pt>
                <c:pt idx="1329">
                  <c:v>3.3658627806350818</c:v>
                </c:pt>
                <c:pt idx="1330">
                  <c:v>3.3440687341806736</c:v>
                </c:pt>
                <c:pt idx="1331">
                  <c:v>3.3065591380365986</c:v>
                </c:pt>
                <c:pt idx="1332">
                  <c:v>3.281096066537744</c:v>
                </c:pt>
                <c:pt idx="1333">
                  <c:v>3.3163005687611595</c:v>
                </c:pt>
                <c:pt idx="1334">
                  <c:v>3.423197273002605</c:v>
                </c:pt>
                <c:pt idx="1335">
                  <c:v>3.3846586206727891</c:v>
                </c:pt>
                <c:pt idx="1336">
                  <c:v>3.441992421252114</c:v>
                </c:pt>
                <c:pt idx="1337">
                  <c:v>3.4307276885696245</c:v>
                </c:pt>
                <c:pt idx="1338">
                  <c:v>3.4774233447021623</c:v>
                </c:pt>
                <c:pt idx="1339">
                  <c:v>3.436990431439467</c:v>
                </c:pt>
                <c:pt idx="1340">
                  <c:v>3.3636257958672591</c:v>
                </c:pt>
                <c:pt idx="1341">
                  <c:v>3.4099790306169493</c:v>
                </c:pt>
                <c:pt idx="1342">
                  <c:v>3.4494818061823129</c:v>
                </c:pt>
                <c:pt idx="1343">
                  <c:v>3.4866874318343806</c:v>
                </c:pt>
                <c:pt idx="1344">
                  <c:v>3.4222548059706552</c:v>
                </c:pt>
                <c:pt idx="1345">
                  <c:v>3.3250434551287635</c:v>
                </c:pt>
                <c:pt idx="1346">
                  <c:v>3.3353757183855164</c:v>
                </c:pt>
                <c:pt idx="1347">
                  <c:v>3.2372163802367488</c:v>
                </c:pt>
                <c:pt idx="1348">
                  <c:v>3.2504755648750017</c:v>
                </c:pt>
                <c:pt idx="1349">
                  <c:v>3.3302135938472714</c:v>
                </c:pt>
                <c:pt idx="1350">
                  <c:v>3.2696058754298138</c:v>
                </c:pt>
                <c:pt idx="1351">
                  <c:v>3.2078532666949027</c:v>
                </c:pt>
                <c:pt idx="1352">
                  <c:v>3.0921336197811127</c:v>
                </c:pt>
                <c:pt idx="1353">
                  <c:v>3.2098638298924165</c:v>
                </c:pt>
                <c:pt idx="1354">
                  <c:v>3.160917248119977</c:v>
                </c:pt>
                <c:pt idx="1355">
                  <c:v>3.160917248119977</c:v>
                </c:pt>
                <c:pt idx="1356">
                  <c:v>3.1903753107833439</c:v>
                </c:pt>
                <c:pt idx="1357">
                  <c:v>3.1218963081979179</c:v>
                </c:pt>
                <c:pt idx="1358">
                  <c:v>3.1087804890394337</c:v>
                </c:pt>
                <c:pt idx="1359">
                  <c:v>3.0515287901295065</c:v>
                </c:pt>
                <c:pt idx="1360">
                  <c:v>3.1101637062331444</c:v>
                </c:pt>
                <c:pt idx="1361">
                  <c:v>3.134957254771956</c:v>
                </c:pt>
                <c:pt idx="1362">
                  <c:v>3.1554697348115743</c:v>
                </c:pt>
                <c:pt idx="1363">
                  <c:v>3.1615975273160859</c:v>
                </c:pt>
                <c:pt idx="1364">
                  <c:v>3.1136190608219851</c:v>
                </c:pt>
                <c:pt idx="1365">
                  <c:v>3.0655912092719726</c:v>
                </c:pt>
                <c:pt idx="1366">
                  <c:v>2.9563127280848618</c:v>
                </c:pt>
                <c:pt idx="1367">
                  <c:v>2.7746936283458017</c:v>
                </c:pt>
                <c:pt idx="1368">
                  <c:v>2.780887148615228</c:v>
                </c:pt>
                <c:pt idx="1369">
                  <c:v>2.780887148615228</c:v>
                </c:pt>
                <c:pt idx="1370">
                  <c:v>2.6298534241014391</c:v>
                </c:pt>
                <c:pt idx="1371">
                  <c:v>2.6298534241014391</c:v>
                </c:pt>
                <c:pt idx="1372">
                  <c:v>2.6298534241014391</c:v>
                </c:pt>
                <c:pt idx="1373">
                  <c:v>2.6526513415420703</c:v>
                </c:pt>
                <c:pt idx="1374">
                  <c:v>2.6526513415420703</c:v>
                </c:pt>
                <c:pt idx="1375">
                  <c:v>2.5803225604813509</c:v>
                </c:pt>
                <c:pt idx="1376">
                  <c:v>2.5927939843268089</c:v>
                </c:pt>
                <c:pt idx="1377">
                  <c:v>2.6481886688463971</c:v>
                </c:pt>
                <c:pt idx="1378">
                  <c:v>2.6595334702856994</c:v>
                </c:pt>
                <c:pt idx="1379">
                  <c:v>2.5097658717862101</c:v>
                </c:pt>
                <c:pt idx="1380">
                  <c:v>2.4047444144700139</c:v>
                </c:pt>
                <c:pt idx="1381">
                  <c:v>2.3513894313925361</c:v>
                </c:pt>
                <c:pt idx="1382">
                  <c:v>2.4083189157584592</c:v>
                </c:pt>
                <c:pt idx="1383">
                  <c:v>2.348644083776438</c:v>
                </c:pt>
                <c:pt idx="1384">
                  <c:v>2.4821946584787917</c:v>
                </c:pt>
                <c:pt idx="1385">
                  <c:v>2.6804750020395898</c:v>
                </c:pt>
                <c:pt idx="1386">
                  <c:v>2.7774049929068063</c:v>
                </c:pt>
                <c:pt idx="1387">
                  <c:v>2.747041419261782</c:v>
                </c:pt>
                <c:pt idx="1388">
                  <c:v>2.8059077460903614</c:v>
                </c:pt>
                <c:pt idx="1389">
                  <c:v>2.8863788378691604</c:v>
                </c:pt>
                <c:pt idx="1390">
                  <c:v>2.8863788378691604</c:v>
                </c:pt>
                <c:pt idx="1391">
                  <c:v>2.7909223048712684</c:v>
                </c:pt>
                <c:pt idx="1392">
                  <c:v>2.8269060560022803</c:v>
                </c:pt>
                <c:pt idx="1393">
                  <c:v>2.7909223048712684</c:v>
                </c:pt>
                <c:pt idx="1394">
                  <c:v>2.78745268535957</c:v>
                </c:pt>
                <c:pt idx="1395">
                  <c:v>2.78745268535957</c:v>
                </c:pt>
                <c:pt idx="1396">
                  <c:v>2.8333649587102809</c:v>
                </c:pt>
                <c:pt idx="1397">
                  <c:v>2.9252331953729485</c:v>
                </c:pt>
                <c:pt idx="1398">
                  <c:v>2.9431896968081834</c:v>
                </c:pt>
                <c:pt idx="1399">
                  <c:v>2.9704639223492508</c:v>
                </c:pt>
                <c:pt idx="1400">
                  <c:v>2.8583023760823973</c:v>
                </c:pt>
                <c:pt idx="1401">
                  <c:v>2.8964197402703831</c:v>
                </c:pt>
                <c:pt idx="1402">
                  <c:v>2.8598067458581728</c:v>
                </c:pt>
                <c:pt idx="1403">
                  <c:v>2.8956771637320231</c:v>
                </c:pt>
                <c:pt idx="1404">
                  <c:v>2.9762500762081534</c:v>
                </c:pt>
                <c:pt idx="1405">
                  <c:v>2.9071657853011756</c:v>
                </c:pt>
                <c:pt idx="1406">
                  <c:v>3.0107334868819362</c:v>
                </c:pt>
                <c:pt idx="1407">
                  <c:v>3.0214288437864152</c:v>
                </c:pt>
                <c:pt idx="1408">
                  <c:v>2.9259682709456456</c:v>
                </c:pt>
                <c:pt idx="1409">
                  <c:v>2.8609345040666576</c:v>
                </c:pt>
                <c:pt idx="1410">
                  <c:v>3.0264070752207539</c:v>
                </c:pt>
                <c:pt idx="1411">
                  <c:v>3.1666949630880641</c:v>
                </c:pt>
                <c:pt idx="1412">
                  <c:v>3.1666949630880641</c:v>
                </c:pt>
                <c:pt idx="1413">
                  <c:v>3.0462386466711893</c:v>
                </c:pt>
                <c:pt idx="1414">
                  <c:v>2.994977875230179</c:v>
                </c:pt>
                <c:pt idx="1415">
                  <c:v>2.9748045928415863</c:v>
                </c:pt>
                <c:pt idx="1416">
                  <c:v>2.9748045928415858</c:v>
                </c:pt>
                <c:pt idx="1417">
                  <c:v>2.8223379311927657</c:v>
                </c:pt>
                <c:pt idx="1418">
                  <c:v>2.8488820671024739</c:v>
                </c:pt>
                <c:pt idx="1419">
                  <c:v>2.6952766331180662</c:v>
                </c:pt>
                <c:pt idx="1420">
                  <c:v>2.8341238618867961</c:v>
                </c:pt>
                <c:pt idx="1421">
                  <c:v>2.8341238618867961</c:v>
                </c:pt>
                <c:pt idx="1422">
                  <c:v>2.9222910440674044</c:v>
                </c:pt>
                <c:pt idx="1423">
                  <c:v>2.9222910440674044</c:v>
                </c:pt>
                <c:pt idx="1424">
                  <c:v>3.1035879340718102</c:v>
                </c:pt>
                <c:pt idx="1425">
                  <c:v>3.2873167801267993</c:v>
                </c:pt>
                <c:pt idx="1426">
                  <c:v>3.3237496638521069</c:v>
                </c:pt>
                <c:pt idx="1427">
                  <c:v>3.3237496638521069</c:v>
                </c:pt>
                <c:pt idx="1428">
                  <c:v>3.2781452925609909</c:v>
                </c:pt>
                <c:pt idx="1429">
                  <c:v>3.3237496638521065</c:v>
                </c:pt>
                <c:pt idx="1430">
                  <c:v>3.3003746936188283</c:v>
                </c:pt>
                <c:pt idx="1431">
                  <c:v>3.3353757183855168</c:v>
                </c:pt>
                <c:pt idx="1432">
                  <c:v>3.3652237938650833</c:v>
                </c:pt>
                <c:pt idx="1433">
                  <c:v>3.4222548059706557</c:v>
                </c:pt>
                <c:pt idx="1434">
                  <c:v>3.3562652054079782</c:v>
                </c:pt>
                <c:pt idx="1435">
                  <c:v>3.3562652054079778</c:v>
                </c:pt>
                <c:pt idx="1436">
                  <c:v>3.3916405774273333</c:v>
                </c:pt>
                <c:pt idx="1437">
                  <c:v>3.283389279584485</c:v>
                </c:pt>
                <c:pt idx="1438">
                  <c:v>3.2138811829413543</c:v>
                </c:pt>
                <c:pt idx="1439">
                  <c:v>3.1356431660053614</c:v>
                </c:pt>
                <c:pt idx="1440">
                  <c:v>3.1663553893416485</c:v>
                </c:pt>
                <c:pt idx="1441">
                  <c:v>3.1218963081979179</c:v>
                </c:pt>
                <c:pt idx="1442">
                  <c:v>3.1218963081979179</c:v>
                </c:pt>
                <c:pt idx="1443">
                  <c:v>3.1218963081979179</c:v>
                </c:pt>
                <c:pt idx="1444">
                  <c:v>3.2118731345210483</c:v>
                </c:pt>
                <c:pt idx="1445">
                  <c:v>3.2607143488070407</c:v>
                </c:pt>
                <c:pt idx="1446">
                  <c:v>3.2402044273753456</c:v>
                </c:pt>
                <c:pt idx="1447">
                  <c:v>3.2138811829413543</c:v>
                </c:pt>
                <c:pt idx="1448">
                  <c:v>3.2085235944144119</c:v>
                </c:pt>
                <c:pt idx="1449">
                  <c:v>3.2527903654078791</c:v>
                </c:pt>
                <c:pt idx="1450">
                  <c:v>3.3856115535303002</c:v>
                </c:pt>
                <c:pt idx="1451">
                  <c:v>3.3703322959236885</c:v>
                </c:pt>
                <c:pt idx="1452">
                  <c:v>3.3830698027564523</c:v>
                </c:pt>
                <c:pt idx="1453">
                  <c:v>3.2974411715100986</c:v>
                </c:pt>
                <c:pt idx="1454">
                  <c:v>3.2593950226964661</c:v>
                </c:pt>
                <c:pt idx="1455">
                  <c:v>3.173817619141007</c:v>
                </c:pt>
                <c:pt idx="1456">
                  <c:v>3.0352764661240426</c:v>
                </c:pt>
                <c:pt idx="1457">
                  <c:v>3.042353361872125</c:v>
                </c:pt>
                <c:pt idx="1458">
                  <c:v>3.0153727992206156</c:v>
                </c:pt>
                <c:pt idx="1459">
                  <c:v>3.0561061739142108</c:v>
                </c:pt>
                <c:pt idx="1460">
                  <c:v>3.0589196209302116</c:v>
                </c:pt>
                <c:pt idx="1461">
                  <c:v>3.1462556684387222</c:v>
                </c:pt>
                <c:pt idx="1462">
                  <c:v>3.0956090998258694</c:v>
                </c:pt>
                <c:pt idx="1463">
                  <c:v>3.1421518549506628</c:v>
                </c:pt>
                <c:pt idx="1464">
                  <c:v>3.1198290551460239</c:v>
                </c:pt>
                <c:pt idx="1465">
                  <c:v>3.2014781532272552</c:v>
                </c:pt>
                <c:pt idx="1466">
                  <c:v>3.0718982958074879</c:v>
                </c:pt>
                <c:pt idx="1467">
                  <c:v>3.0405856821215513</c:v>
                </c:pt>
                <c:pt idx="1468">
                  <c:v>3.0610280092018565</c:v>
                </c:pt>
                <c:pt idx="1469">
                  <c:v>3.2051705538972324</c:v>
                </c:pt>
                <c:pt idx="1470">
                  <c:v>3.2491520812839507</c:v>
                </c:pt>
                <c:pt idx="1471">
                  <c:v>3.2425265603574713</c:v>
                </c:pt>
                <c:pt idx="1472">
                  <c:v>3.1598965547244005</c:v>
                </c:pt>
                <c:pt idx="1473">
                  <c:v>3.0827302519765842</c:v>
                </c:pt>
                <c:pt idx="1474">
                  <c:v>3.1772037479384259</c:v>
                </c:pt>
                <c:pt idx="1475">
                  <c:v>3.2155535987192878</c:v>
                </c:pt>
                <c:pt idx="1476">
                  <c:v>3.2797849391860781</c:v>
                </c:pt>
                <c:pt idx="1477">
                  <c:v>3.32148431646397</c:v>
                </c:pt>
                <c:pt idx="1478">
                  <c:v>3.3463187926982672</c:v>
                </c:pt>
                <c:pt idx="1479">
                  <c:v>3.3802080485693349</c:v>
                </c:pt>
                <c:pt idx="1480">
                  <c:v>3.3137056539907586</c:v>
                </c:pt>
                <c:pt idx="1481">
                  <c:v>3.2554338362752198</c:v>
                </c:pt>
                <c:pt idx="1482">
                  <c:v>3.2554338362752198</c:v>
                </c:pt>
                <c:pt idx="1483">
                  <c:v>3.2600547524922505</c:v>
                </c:pt>
                <c:pt idx="1484">
                  <c:v>3.2081884480621725</c:v>
                </c:pt>
                <c:pt idx="1485">
                  <c:v>3.2745351800158278</c:v>
                </c:pt>
                <c:pt idx="1486">
                  <c:v>3.1704278738406595</c:v>
                </c:pt>
                <c:pt idx="1487">
                  <c:v>3.2441842091342017</c:v>
                </c:pt>
                <c:pt idx="1488">
                  <c:v>3.434799770345514</c:v>
                </c:pt>
                <c:pt idx="1489">
                  <c:v>3.4222548059706552</c:v>
                </c:pt>
                <c:pt idx="1490">
                  <c:v>3.3253668242960859</c:v>
                </c:pt>
                <c:pt idx="1491">
                  <c:v>3.2188958235054219</c:v>
                </c:pt>
                <c:pt idx="1492">
                  <c:v>3.1934071870598637</c:v>
                </c:pt>
                <c:pt idx="1493">
                  <c:v>3.2285687098122127</c:v>
                </c:pt>
                <c:pt idx="1494">
                  <c:v>3.0164423964635549</c:v>
                </c:pt>
                <c:pt idx="1495">
                  <c:v>3.2702635453299447</c:v>
                </c:pt>
                <c:pt idx="1496">
                  <c:v>3.1342711934321343</c:v>
                </c:pt>
                <c:pt idx="1497">
                  <c:v>3.1805862717835627</c:v>
                </c:pt>
                <c:pt idx="1498">
                  <c:v>3.1981177259830993</c:v>
                </c:pt>
                <c:pt idx="1499">
                  <c:v>3.2142157357120453</c:v>
                </c:pt>
                <c:pt idx="1500">
                  <c:v>3.2142157357120453</c:v>
                </c:pt>
                <c:pt idx="1501">
                  <c:v>3.2322301632088317</c:v>
                </c:pt>
                <c:pt idx="1502">
                  <c:v>3.2850263087930309</c:v>
                </c:pt>
                <c:pt idx="1503">
                  <c:v>3.4851451274143215</c:v>
                </c:pt>
                <c:pt idx="1504">
                  <c:v>3.4734012335220155</c:v>
                </c:pt>
                <c:pt idx="1505">
                  <c:v>3.4093483122113661</c:v>
                </c:pt>
                <c:pt idx="1506">
                  <c:v>3.4093483122113666</c:v>
                </c:pt>
                <c:pt idx="1507">
                  <c:v>3.3360204223092698</c:v>
                </c:pt>
                <c:pt idx="1508">
                  <c:v>3.4501051877372686</c:v>
                </c:pt>
                <c:pt idx="1509">
                  <c:v>3.450105187737269</c:v>
                </c:pt>
                <c:pt idx="1510">
                  <c:v>3.3903722002036858</c:v>
                </c:pt>
                <c:pt idx="1511">
                  <c:v>3.4544657088084305</c:v>
                </c:pt>
                <c:pt idx="1512">
                  <c:v>3.4974645194077558</c:v>
                </c:pt>
                <c:pt idx="1513">
                  <c:v>3.432294445599084</c:v>
                </c:pt>
                <c:pt idx="1514">
                  <c:v>3.4553993902639619</c:v>
                </c:pt>
                <c:pt idx="1515">
                  <c:v>3.432294445599084</c:v>
                </c:pt>
                <c:pt idx="1516">
                  <c:v>3.2931992485002453</c:v>
                </c:pt>
                <c:pt idx="1517">
                  <c:v>3.2931992485002453</c:v>
                </c:pt>
                <c:pt idx="1518">
                  <c:v>3.2931992485002453</c:v>
                </c:pt>
                <c:pt idx="1519">
                  <c:v>3.1876778887743105</c:v>
                </c:pt>
                <c:pt idx="1520">
                  <c:v>3.2438527471451737</c:v>
                </c:pt>
                <c:pt idx="1521">
                  <c:v>3.2338930897803402</c:v>
                </c:pt>
                <c:pt idx="1522">
                  <c:v>3.1067045085147384</c:v>
                </c:pt>
                <c:pt idx="1523">
                  <c:v>3.1819382745106326</c:v>
                </c:pt>
                <c:pt idx="1524">
                  <c:v>3.0132324657206788</c:v>
                </c:pt>
                <c:pt idx="1525">
                  <c:v>3.0851709142108268</c:v>
                </c:pt>
                <c:pt idx="1526">
                  <c:v>3.0851709142108268</c:v>
                </c:pt>
                <c:pt idx="1527">
                  <c:v>3.0969981997835214</c:v>
                </c:pt>
                <c:pt idx="1528">
                  <c:v>3.128777287028905</c:v>
                </c:pt>
                <c:pt idx="1529">
                  <c:v>3.1575136536709199</c:v>
                </c:pt>
                <c:pt idx="1530">
                  <c:v>3.3153277137354564</c:v>
                </c:pt>
                <c:pt idx="1531">
                  <c:v>3.2646691281244777</c:v>
                </c:pt>
                <c:pt idx="1532">
                  <c:v>3.2232355346496098</c:v>
                </c:pt>
                <c:pt idx="1533">
                  <c:v>3.1923968815707062</c:v>
                </c:pt>
                <c:pt idx="1534">
                  <c:v>3.1380426746551731</c:v>
                </c:pt>
                <c:pt idx="1535">
                  <c:v>3.1809243263385678</c:v>
                </c:pt>
                <c:pt idx="1536">
                  <c:v>3.2392087179247295</c:v>
                </c:pt>
                <c:pt idx="1537">
                  <c:v>3.23920871792473</c:v>
                </c:pt>
                <c:pt idx="1538">
                  <c:v>3.330859296925341</c:v>
                </c:pt>
                <c:pt idx="1539">
                  <c:v>3.2091937821176826</c:v>
                </c:pt>
                <c:pt idx="1540">
                  <c:v>3.12980812906018</c:v>
                </c:pt>
                <c:pt idx="1541">
                  <c:v>3.2551035198179465</c:v>
                </c:pt>
                <c:pt idx="1542">
                  <c:v>3.2935257442377748</c:v>
                </c:pt>
                <c:pt idx="1543">
                  <c:v>3.2935257442377748</c:v>
                </c:pt>
                <c:pt idx="1544">
                  <c:v>3.3344084287760056</c:v>
                </c:pt>
                <c:pt idx="1545">
                  <c:v>3.354983454280307</c:v>
                </c:pt>
                <c:pt idx="1546">
                  <c:v>3.355303937965834</c:v>
                </c:pt>
                <c:pt idx="1547">
                  <c:v>3.4501051877372686</c:v>
                </c:pt>
                <c:pt idx="1548">
                  <c:v>3.4755675640782933</c:v>
                </c:pt>
                <c:pt idx="1549">
                  <c:v>3.5155568243090936</c:v>
                </c:pt>
                <c:pt idx="1550">
                  <c:v>3.6135944039320513</c:v>
                </c:pt>
                <c:pt idx="1551">
                  <c:v>3.4734012335220155</c:v>
                </c:pt>
                <c:pt idx="1552">
                  <c:v>3.5189196778165783</c:v>
                </c:pt>
                <c:pt idx="1553">
                  <c:v>3.5584217837965548</c:v>
                </c:pt>
                <c:pt idx="1554">
                  <c:v>3.618352265642411</c:v>
                </c:pt>
                <c:pt idx="1555">
                  <c:v>3.6854844591891487</c:v>
                </c:pt>
                <c:pt idx="1556">
                  <c:v>3.6705746524992366</c:v>
                </c:pt>
                <c:pt idx="1557">
                  <c:v>3.5259407346857272</c:v>
                </c:pt>
                <c:pt idx="1558">
                  <c:v>3.5659681760018649</c:v>
                </c:pt>
                <c:pt idx="1559">
                  <c:v>3.490386181918089</c:v>
                </c:pt>
                <c:pt idx="1560">
                  <c:v>3.4077710054823895</c:v>
                </c:pt>
                <c:pt idx="1561">
                  <c:v>3.3408517360967465</c:v>
                </c:pt>
                <c:pt idx="1562">
                  <c:v>3.3735211813904948</c:v>
                </c:pt>
                <c:pt idx="1563">
                  <c:v>3.439804945707841</c:v>
                </c:pt>
                <c:pt idx="1564">
                  <c:v>3.4360517477045112</c:v>
                </c:pt>
                <c:pt idx="1565">
                  <c:v>3.5396373060053095</c:v>
                </c:pt>
                <c:pt idx="1566">
                  <c:v>3.458509841330605</c:v>
                </c:pt>
                <c:pt idx="1567">
                  <c:v>3.448234704982414</c:v>
                </c:pt>
                <c:pt idx="1568">
                  <c:v>3.4482347049824145</c:v>
                </c:pt>
                <c:pt idx="1569">
                  <c:v>3.410609632384821</c:v>
                </c:pt>
                <c:pt idx="1570">
                  <c:v>3.4826760196814925</c:v>
                </c:pt>
                <c:pt idx="1571">
                  <c:v>3.468754540828181</c:v>
                </c:pt>
                <c:pt idx="1572">
                  <c:v>3.468754540828181</c:v>
                </c:pt>
                <c:pt idx="1573">
                  <c:v>3.3897378336156265</c:v>
                </c:pt>
                <c:pt idx="1574">
                  <c:v>3.2138811829413538</c:v>
                </c:pt>
                <c:pt idx="1575">
                  <c:v>3.1728010758108782</c:v>
                </c:pt>
                <c:pt idx="1576">
                  <c:v>3.1700886999564224</c:v>
                </c:pt>
                <c:pt idx="1577">
                  <c:v>3.2882979223006017</c:v>
                </c:pt>
                <c:pt idx="1578">
                  <c:v>3.2494830027169304</c:v>
                </c:pt>
                <c:pt idx="1579">
                  <c:v>3.2215671068062379</c:v>
                </c:pt>
                <c:pt idx="1580">
                  <c:v>3.1595562503181882</c:v>
                </c:pt>
                <c:pt idx="1581">
                  <c:v>3.2155535987192874</c:v>
                </c:pt>
                <c:pt idx="1582">
                  <c:v>3.2155535987192874</c:v>
                </c:pt>
                <c:pt idx="1583">
                  <c:v>3.2318974752183247</c:v>
                </c:pt>
                <c:pt idx="1584">
                  <c:v>3.1816003276906559</c:v>
                </c:pt>
                <c:pt idx="1585">
                  <c:v>3.0743475573242858</c:v>
                </c:pt>
                <c:pt idx="1586">
                  <c:v>3.0743475573242862</c:v>
                </c:pt>
                <c:pt idx="1587">
                  <c:v>3.1280898702817246</c:v>
                </c:pt>
                <c:pt idx="1588">
                  <c:v>3.148305569189441</c:v>
                </c:pt>
                <c:pt idx="1589">
                  <c:v>3.2215671068062379</c:v>
                </c:pt>
                <c:pt idx="1590">
                  <c:v>3.1913862562465138</c:v>
                </c:pt>
                <c:pt idx="1591">
                  <c:v>3.2128773156099952</c:v>
                </c:pt>
                <c:pt idx="1592">
                  <c:v>3.2646691281244773</c:v>
                </c:pt>
                <c:pt idx="1593">
                  <c:v>3.1853157707109334</c:v>
                </c:pt>
                <c:pt idx="1594">
                  <c:v>3.1609172481199774</c:v>
                </c:pt>
                <c:pt idx="1595">
                  <c:v>3.1609172481199774</c:v>
                </c:pt>
                <c:pt idx="1596">
                  <c:v>3.1087804890394337</c:v>
                </c:pt>
                <c:pt idx="1597">
                  <c:v>3.0634859615410575</c:v>
                </c:pt>
                <c:pt idx="1598">
                  <c:v>3.0634859615410575</c:v>
                </c:pt>
                <c:pt idx="1599">
                  <c:v>3.0203610123892952</c:v>
                </c:pt>
                <c:pt idx="1600">
                  <c:v>3.0096618607626069</c:v>
                </c:pt>
                <c:pt idx="1601">
                  <c:v>2.9686534364601154</c:v>
                </c:pt>
                <c:pt idx="1602">
                  <c:v>3.0753966437077733</c:v>
                </c:pt>
                <c:pt idx="1603">
                  <c:v>2.9599476891628749</c:v>
                </c:pt>
                <c:pt idx="1604">
                  <c:v>3.0150161824847914</c:v>
                </c:pt>
                <c:pt idx="1605">
                  <c:v>3.0103763205615754</c:v>
                </c:pt>
                <c:pt idx="1606">
                  <c:v>3.0487085226229778</c:v>
                </c:pt>
                <c:pt idx="1607">
                  <c:v>3.1198290551460239</c:v>
                </c:pt>
                <c:pt idx="1608">
                  <c:v>3.1778805407350967</c:v>
                </c:pt>
                <c:pt idx="1609">
                  <c:v>3.1342711934321352</c:v>
                </c:pt>
                <c:pt idx="1610">
                  <c:v>3.211538337716624</c:v>
                </c:pt>
                <c:pt idx="1611">
                  <c:v>3.2232355346496098</c:v>
                </c:pt>
                <c:pt idx="1612">
                  <c:v>3.0627838907259393</c:v>
                </c:pt>
                <c:pt idx="1613">
                  <c:v>3.1704278738406595</c:v>
                </c:pt>
                <c:pt idx="1614">
                  <c:v>3.1377000000514039</c:v>
                </c:pt>
                <c:pt idx="1615">
                  <c:v>3.1239621932645472</c:v>
                </c:pt>
                <c:pt idx="1616">
                  <c:v>3.2155535987192878</c:v>
                </c:pt>
                <c:pt idx="1617">
                  <c:v>3.1772037479384254</c:v>
                </c:pt>
                <c:pt idx="1618">
                  <c:v>3.1462556684387226</c:v>
                </c:pt>
                <c:pt idx="1619">
                  <c:v>3.1022017848583765</c:v>
                </c:pt>
                <c:pt idx="1620">
                  <c:v>3.0631349462478359</c:v>
                </c:pt>
                <c:pt idx="1621">
                  <c:v>3.1022017848583765</c:v>
                </c:pt>
                <c:pt idx="1622">
                  <c:v>3.0820325649127707</c:v>
                </c:pt>
                <c:pt idx="1623">
                  <c:v>3.2142157357120453</c:v>
                </c:pt>
                <c:pt idx="1624">
                  <c:v>3.2902593289303059</c:v>
                </c:pt>
                <c:pt idx="1625">
                  <c:v>3.2715784885054515</c:v>
                </c:pt>
                <c:pt idx="1626">
                  <c:v>3.3003746936188283</c:v>
                </c:pt>
                <c:pt idx="1627">
                  <c:v>3.2544427863249292</c:v>
                </c:pt>
                <c:pt idx="1628">
                  <c:v>3.2438527471451737</c:v>
                </c:pt>
                <c:pt idx="1629">
                  <c:v>3.3049327746810966</c:v>
                </c:pt>
                <c:pt idx="1630">
                  <c:v>3.2738783682190258</c:v>
                </c:pt>
                <c:pt idx="1631">
                  <c:v>3.3747958918767158</c:v>
                </c:pt>
                <c:pt idx="1632">
                  <c:v>3.4036665871614304</c:v>
                </c:pt>
                <c:pt idx="1633">
                  <c:v>3.310459150170296</c:v>
                </c:pt>
                <c:pt idx="1634">
                  <c:v>3.4027187106277115</c:v>
                </c:pt>
                <c:pt idx="1635">
                  <c:v>3.3437471736496942</c:v>
                </c:pt>
                <c:pt idx="1636">
                  <c:v>3.4501051877372686</c:v>
                </c:pt>
                <c:pt idx="1637">
                  <c:v>3.4338604877691767</c:v>
                </c:pt>
                <c:pt idx="1638">
                  <c:v>3.338597993041359</c:v>
                </c:pt>
                <c:pt idx="1639">
                  <c:v>3.2018140019722887</c:v>
                </c:pt>
                <c:pt idx="1640">
                  <c:v>3.2165566307994307</c:v>
                </c:pt>
                <c:pt idx="1641">
                  <c:v>3.2165566307994307</c:v>
                </c:pt>
                <c:pt idx="1642">
                  <c:v>3.168052894095196</c:v>
                </c:pt>
                <c:pt idx="1643">
                  <c:v>3.2643397461806303</c:v>
                </c:pt>
                <c:pt idx="1644">
                  <c:v>3.1711061127774682</c:v>
                </c:pt>
                <c:pt idx="1645">
                  <c:v>3.1363289272308394</c:v>
                </c:pt>
                <c:pt idx="1646">
                  <c:v>3.2441842091342008</c:v>
                </c:pt>
                <c:pt idx="1647">
                  <c:v>3.1704278738406595</c:v>
                </c:pt>
                <c:pt idx="1648">
                  <c:v>3.1704278738406595</c:v>
                </c:pt>
                <c:pt idx="1649">
                  <c:v>3.2128773156099952</c:v>
                </c:pt>
                <c:pt idx="1650">
                  <c:v>3.2421949289006742</c:v>
                </c:pt>
                <c:pt idx="1651">
                  <c:v>3.2738783682190258</c:v>
                </c:pt>
                <c:pt idx="1652">
                  <c:v>3.2335605728816375</c:v>
                </c:pt>
                <c:pt idx="1653">
                  <c:v>3.3305364610344039</c:v>
                </c:pt>
                <c:pt idx="1654">
                  <c:v>3.1772037479384254</c:v>
                </c:pt>
                <c:pt idx="1655">
                  <c:v>3.1315254450352508</c:v>
                </c:pt>
                <c:pt idx="1656">
                  <c:v>3.1977814890346878</c:v>
                </c:pt>
                <c:pt idx="1657">
                  <c:v>3.2024855937997008</c:v>
                </c:pt>
                <c:pt idx="1658">
                  <c:v>3.2918929417259228</c:v>
                </c:pt>
                <c:pt idx="1659">
                  <c:v>3.2918929417259228</c:v>
                </c:pt>
                <c:pt idx="1660">
                  <c:v>3.2735499129015984</c:v>
                </c:pt>
                <c:pt idx="1661">
                  <c:v>3.2567547670807557</c:v>
                </c:pt>
                <c:pt idx="1662">
                  <c:v>3.1643171816059237</c:v>
                </c:pt>
                <c:pt idx="1663">
                  <c:v>3.2636808825658501</c:v>
                </c:pt>
                <c:pt idx="1664">
                  <c:v>3.2646691281244773</c:v>
                </c:pt>
                <c:pt idx="1665">
                  <c:v>3.1704278738406595</c:v>
                </c:pt>
                <c:pt idx="1666">
                  <c:v>3.166355389341649</c:v>
                </c:pt>
                <c:pt idx="1667">
                  <c:v>3.1694102432980462</c:v>
                </c:pt>
                <c:pt idx="1668">
                  <c:v>3.2646691281244773</c:v>
                </c:pt>
                <c:pt idx="1669">
                  <c:v>3.2846989682203693</c:v>
                </c:pt>
                <c:pt idx="1670">
                  <c:v>3.3719271156296187</c:v>
                </c:pt>
                <c:pt idx="1671">
                  <c:v>3.3437471736496946</c:v>
                </c:pt>
                <c:pt idx="1672">
                  <c:v>3.2735499129015988</c:v>
                </c:pt>
                <c:pt idx="1673">
                  <c:v>3.330859296925341</c:v>
                </c:pt>
                <c:pt idx="1674">
                  <c:v>3.330859296925341</c:v>
                </c:pt>
                <c:pt idx="1675">
                  <c:v>3.3360204223092698</c:v>
                </c:pt>
                <c:pt idx="1676">
                  <c:v>3.5020731187444185</c:v>
                </c:pt>
                <c:pt idx="1677">
                  <c:v>3.4068242709161307</c:v>
                </c:pt>
                <c:pt idx="1678">
                  <c:v>3.4326077111905358</c:v>
                </c:pt>
                <c:pt idx="1679">
                  <c:v>3.5381180830905676</c:v>
                </c:pt>
                <c:pt idx="1680">
                  <c:v>3.4965420706196153</c:v>
                </c:pt>
                <c:pt idx="1681">
                  <c:v>3.4789690723620428</c:v>
                </c:pt>
                <c:pt idx="1682">
                  <c:v>3.4128158209837496</c:v>
                </c:pt>
                <c:pt idx="1683">
                  <c:v>3.340207964680018</c:v>
                </c:pt>
                <c:pt idx="1684">
                  <c:v>3.2958103087704935</c:v>
                </c:pt>
                <c:pt idx="1685">
                  <c:v>3.4055615487560331</c:v>
                </c:pt>
                <c:pt idx="1686">
                  <c:v>3.3642650861506844</c:v>
                </c:pt>
                <c:pt idx="1687">
                  <c:v>3.3143545731498216</c:v>
                </c:pt>
                <c:pt idx="1688">
                  <c:v>3.2613738117218247</c:v>
                </c:pt>
                <c:pt idx="1689">
                  <c:v>3.2215671068062384</c:v>
                </c:pt>
                <c:pt idx="1690">
                  <c:v>3.2215671068062388</c:v>
                </c:pt>
                <c:pt idx="1691">
                  <c:v>3.1711061127774682</c:v>
                </c:pt>
                <c:pt idx="1692">
                  <c:v>3.2215671068062384</c:v>
                </c:pt>
                <c:pt idx="1693">
                  <c:v>3.2305663806498304</c:v>
                </c:pt>
                <c:pt idx="1694">
                  <c:v>3.0806367167592419</c:v>
                </c:pt>
                <c:pt idx="1695">
                  <c:v>3.2494830027169304</c:v>
                </c:pt>
                <c:pt idx="1696">
                  <c:v>3.2653277923353805</c:v>
                </c:pt>
                <c:pt idx="1697">
                  <c:v>3.2653277923353805</c:v>
                </c:pt>
                <c:pt idx="1698">
                  <c:v>3.1568324944237154</c:v>
                </c:pt>
                <c:pt idx="1699">
                  <c:v>3.092829028227952</c:v>
                </c:pt>
                <c:pt idx="1700">
                  <c:v>3.0886542289865595</c:v>
                </c:pt>
                <c:pt idx="1701">
                  <c:v>3.0886542289865599</c:v>
                </c:pt>
                <c:pt idx="1702">
                  <c:v>3.1619376120293063</c:v>
                </c:pt>
                <c:pt idx="1703">
                  <c:v>3.2225682671681506</c:v>
                </c:pt>
                <c:pt idx="1704">
                  <c:v>3.1174155273066293</c:v>
                </c:pt>
                <c:pt idx="1705">
                  <c:v>3.1174155273066289</c:v>
                </c:pt>
                <c:pt idx="1706">
                  <c:v>3.1073966561246444</c:v>
                </c:pt>
                <c:pt idx="1707">
                  <c:v>2.91824074268352</c:v>
                </c:pt>
                <c:pt idx="1708">
                  <c:v>2.8923332100312127</c:v>
                </c:pt>
                <c:pt idx="1709">
                  <c:v>2.8751811537130436</c:v>
                </c:pt>
                <c:pt idx="1710">
                  <c:v>2.5844863885254106</c:v>
                </c:pt>
                <c:pt idx="1711">
                  <c:v>2.392191598756523</c:v>
                </c:pt>
                <c:pt idx="1712">
                  <c:v>2.34589552334532</c:v>
                </c:pt>
                <c:pt idx="1713">
                  <c:v>2.297731466571566</c:v>
                </c:pt>
                <c:pt idx="1714">
                  <c:v>2.2466223153785752</c:v>
                </c:pt>
                <c:pt idx="1715">
                  <c:v>2.2355870509478248</c:v>
                </c:pt>
                <c:pt idx="1716">
                  <c:v>2.1992178472777422</c:v>
                </c:pt>
                <c:pt idx="1717">
                  <c:v>2.1992178472777422</c:v>
                </c:pt>
                <c:pt idx="1718">
                  <c:v>2.2355870509478244</c:v>
                </c:pt>
                <c:pt idx="1719">
                  <c:v>2.1306771098025532</c:v>
                </c:pt>
                <c:pt idx="1720">
                  <c:v>2.1200527483800915</c:v>
                </c:pt>
                <c:pt idx="1721">
                  <c:v>2.0551535013177218</c:v>
                </c:pt>
                <c:pt idx="1722">
                  <c:v>2.0572452611480565</c:v>
                </c:pt>
                <c:pt idx="1723">
                  <c:v>2.0816659994661326</c:v>
                </c:pt>
                <c:pt idx="1724">
                  <c:v>2.0806326581269725</c:v>
                </c:pt>
                <c:pt idx="1725">
                  <c:v>2.1093748755475858</c:v>
                </c:pt>
                <c:pt idx="1726">
                  <c:v>1.5019700324888727</c:v>
                </c:pt>
                <c:pt idx="1727">
                  <c:v>1.4759724332303477</c:v>
                </c:pt>
                <c:pt idx="1728">
                  <c:v>1.4569079055181533</c:v>
                </c:pt>
                <c:pt idx="1729">
                  <c:v>1.2048289933537479</c:v>
                </c:pt>
                <c:pt idx="1730">
                  <c:v>1.2048289933537479</c:v>
                </c:pt>
                <c:pt idx="1731">
                  <c:v>1.2066126049791726</c:v>
                </c:pt>
                <c:pt idx="1732">
                  <c:v>1.17957528350774</c:v>
                </c:pt>
                <c:pt idx="1733">
                  <c:v>1.1481635640850445</c:v>
                </c:pt>
                <c:pt idx="1734">
                  <c:v>1.1120068074364233</c:v>
                </c:pt>
                <c:pt idx="1735">
                  <c:v>1.0855849223602514</c:v>
                </c:pt>
                <c:pt idx="1736">
                  <c:v>1.0706243781736826</c:v>
                </c:pt>
                <c:pt idx="1737">
                  <c:v>1.0452143886684542</c:v>
                </c:pt>
                <c:pt idx="1738">
                  <c:v>1.0452143886684542</c:v>
                </c:pt>
                <c:pt idx="1739">
                  <c:v>1.0635707760647266</c:v>
                </c:pt>
                <c:pt idx="1740">
                  <c:v>1.0706243781736831</c:v>
                </c:pt>
                <c:pt idx="1741">
                  <c:v>1.0865749680948489</c:v>
                </c:pt>
                <c:pt idx="1742">
                  <c:v>1.0635707760647266</c:v>
                </c:pt>
                <c:pt idx="1743">
                  <c:v>1.6428404460515316</c:v>
                </c:pt>
                <c:pt idx="1744">
                  <c:v>1.9565165445881902</c:v>
                </c:pt>
                <c:pt idx="1745">
                  <c:v>2.2143228776426471</c:v>
                </c:pt>
                <c:pt idx="1746">
                  <c:v>2.3075379049531772</c:v>
                </c:pt>
                <c:pt idx="1747">
                  <c:v>2.5869814684839878</c:v>
                </c:pt>
                <c:pt idx="1748">
                  <c:v>2.7579796251791318</c:v>
                </c:pt>
                <c:pt idx="1749">
                  <c:v>2.9182407426835204</c:v>
                </c:pt>
                <c:pt idx="1750">
                  <c:v>3.1025483802211533</c:v>
                </c:pt>
                <c:pt idx="1751">
                  <c:v>3.121896308197917</c:v>
                </c:pt>
                <c:pt idx="1752">
                  <c:v>3.2748635365150252</c:v>
                </c:pt>
                <c:pt idx="1753">
                  <c:v>3.2541123692687619</c:v>
                </c:pt>
                <c:pt idx="1754">
                  <c:v>3.1873405505132704</c:v>
                </c:pt>
                <c:pt idx="1755">
                  <c:v>3.1486470895646046</c:v>
                </c:pt>
                <c:pt idx="1756">
                  <c:v>3.1568324944237158</c:v>
                </c:pt>
                <c:pt idx="1757">
                  <c:v>3.240868063721758</c:v>
                </c:pt>
                <c:pt idx="1758">
                  <c:v>3.3085097187615733</c:v>
                </c:pt>
                <c:pt idx="1759">
                  <c:v>3.2643397461806307</c:v>
                </c:pt>
                <c:pt idx="1760">
                  <c:v>3.2918929417259224</c:v>
                </c:pt>
                <c:pt idx="1761">
                  <c:v>3.2577451136954307</c:v>
                </c:pt>
                <c:pt idx="1762">
                  <c:v>3.2577451136954307</c:v>
                </c:pt>
                <c:pt idx="1763">
                  <c:v>3.225903224354882</c:v>
                </c:pt>
                <c:pt idx="1764">
                  <c:v>3.225903224354882</c:v>
                </c:pt>
                <c:pt idx="1765">
                  <c:v>3.2299006276534463</c:v>
                </c:pt>
                <c:pt idx="1766">
                  <c:v>3.2299006276534463</c:v>
                </c:pt>
                <c:pt idx="1767">
                  <c:v>3.2498138904529053</c:v>
                </c:pt>
                <c:pt idx="1768">
                  <c:v>3.3340859365436377</c:v>
                </c:pt>
                <c:pt idx="1769">
                  <c:v>3.2636808825658497</c:v>
                </c:pt>
                <c:pt idx="1770">
                  <c:v>3.3802080485693349</c:v>
                </c:pt>
                <c:pt idx="1771">
                  <c:v>3.3133811467526511</c:v>
                </c:pt>
                <c:pt idx="1772">
                  <c:v>3.2850263087930314</c:v>
                </c:pt>
                <c:pt idx="1773">
                  <c:v>3.2781452925609913</c:v>
                </c:pt>
                <c:pt idx="1774">
                  <c:v>3.2494830027169299</c:v>
                </c:pt>
                <c:pt idx="1775">
                  <c:v>3.2215671068062379</c:v>
                </c:pt>
                <c:pt idx="1776">
                  <c:v>3.2534514344860197</c:v>
                </c:pt>
                <c:pt idx="1777">
                  <c:v>3.2643397461806307</c:v>
                </c:pt>
                <c:pt idx="1778">
                  <c:v>3.3376316372896153</c:v>
                </c:pt>
                <c:pt idx="1779">
                  <c:v>3.3013519550606523</c:v>
                </c:pt>
                <c:pt idx="1780">
                  <c:v>3.2935257442377752</c:v>
                </c:pt>
                <c:pt idx="1781">
                  <c:v>3.2335605728816375</c:v>
                </c:pt>
                <c:pt idx="1782">
                  <c:v>3.260054752492251</c:v>
                </c:pt>
                <c:pt idx="1783">
                  <c:v>3.2335605728816375</c:v>
                </c:pt>
                <c:pt idx="1784">
                  <c:v>3.340851736096746</c:v>
                </c:pt>
                <c:pt idx="1785">
                  <c:v>3.3601075251612356</c:v>
                </c:pt>
                <c:pt idx="1786">
                  <c:v>3.3763886032268267</c:v>
                </c:pt>
                <c:pt idx="1787">
                  <c:v>3.3706513202318393</c:v>
                </c:pt>
                <c:pt idx="1788">
                  <c:v>3.2305663806498308</c:v>
                </c:pt>
                <c:pt idx="1789">
                  <c:v>3.1383853118429226</c:v>
                </c:pt>
                <c:pt idx="1790">
                  <c:v>3.1826140604956361</c:v>
                </c:pt>
                <c:pt idx="1791">
                  <c:v>3.2494830027169304</c:v>
                </c:pt>
                <c:pt idx="1792">
                  <c:v>3.3376316372896153</c:v>
                </c:pt>
                <c:pt idx="1793">
                  <c:v>3.3376316372896153</c:v>
                </c:pt>
                <c:pt idx="1794">
                  <c:v>3.4591315959138442</c:v>
                </c:pt>
                <c:pt idx="1795">
                  <c:v>3.5341650471709949</c:v>
                </c:pt>
                <c:pt idx="1796">
                  <c:v>3.4873041626133854</c:v>
                </c:pt>
                <c:pt idx="1797">
                  <c:v>3.4650327001203358</c:v>
                </c:pt>
                <c:pt idx="1798">
                  <c:v>3.4175385721997524</c:v>
                </c:pt>
                <c:pt idx="1799">
                  <c:v>3.3514561110830803</c:v>
                </c:pt>
                <c:pt idx="1800">
                  <c:v>3.3802080485693335</c:v>
                </c:pt>
                <c:pt idx="1801">
                  <c:v>3.3802080485693335</c:v>
                </c:pt>
                <c:pt idx="1802">
                  <c:v>3.4962345336059042</c:v>
                </c:pt>
                <c:pt idx="1803">
                  <c:v>3.5112721708897077</c:v>
                </c:pt>
                <c:pt idx="1804">
                  <c:v>3.4519746569547789</c:v>
                </c:pt>
                <c:pt idx="1805">
                  <c:v>3.4388670302314543</c:v>
                </c:pt>
                <c:pt idx="1806">
                  <c:v>3.5295983505391995</c:v>
                </c:pt>
                <c:pt idx="1807">
                  <c:v>3.5002304071626207</c:v>
                </c:pt>
                <c:pt idx="1808">
                  <c:v>3.5641584990642063</c:v>
                </c:pt>
                <c:pt idx="1809">
                  <c:v>3.5277700166426076</c:v>
                </c:pt>
                <c:pt idx="1810">
                  <c:v>3.5578173809414437</c:v>
                </c:pt>
                <c:pt idx="1811">
                  <c:v>3.6305158257870636</c:v>
                </c:pt>
                <c:pt idx="1812">
                  <c:v>3.5995818156157844</c:v>
                </c:pt>
                <c:pt idx="1813">
                  <c:v>3.5253307630983106</c:v>
                </c:pt>
                <c:pt idx="1814">
                  <c:v>3.5253307630983106</c:v>
                </c:pt>
                <c:pt idx="1815">
                  <c:v>3.3998734954327698</c:v>
                </c:pt>
                <c:pt idx="1816">
                  <c:v>3.3998734954327698</c:v>
                </c:pt>
                <c:pt idx="1817">
                  <c:v>3.4637911978590155</c:v>
                </c:pt>
                <c:pt idx="1818">
                  <c:v>3.5496478698597698</c:v>
                </c:pt>
                <c:pt idx="1819">
                  <c:v>3.6614821606698049</c:v>
                </c:pt>
                <c:pt idx="1820">
                  <c:v>3.6455894695707518</c:v>
                </c:pt>
                <c:pt idx="1821">
                  <c:v>3.6764288422677325</c:v>
                </c:pt>
                <c:pt idx="1822">
                  <c:v>3.6001792070090963</c:v>
                </c:pt>
                <c:pt idx="1823">
                  <c:v>3.5353818366879115</c:v>
                </c:pt>
                <c:pt idx="1824">
                  <c:v>3.528074804756411</c:v>
                </c:pt>
                <c:pt idx="1825">
                  <c:v>3.4873041626133854</c:v>
                </c:pt>
                <c:pt idx="1826">
                  <c:v>3.3520977222904689</c:v>
                </c:pt>
                <c:pt idx="1827">
                  <c:v>3.3782988656728485</c:v>
                </c:pt>
                <c:pt idx="1828">
                  <c:v>3.3846586206727891</c:v>
                </c:pt>
                <c:pt idx="1829">
                  <c:v>3.515556824309094</c:v>
                </c:pt>
                <c:pt idx="1830">
                  <c:v>3.4873041626133854</c:v>
                </c:pt>
                <c:pt idx="1831">
                  <c:v>3.4873041626133854</c:v>
                </c:pt>
                <c:pt idx="1832">
                  <c:v>3.4143907972183025</c:v>
                </c:pt>
                <c:pt idx="1833">
                  <c:v>3.3636257958672591</c:v>
                </c:pt>
                <c:pt idx="1834">
                  <c:v>3.37001324141491</c:v>
                </c:pt>
                <c:pt idx="1835">
                  <c:v>3.3559448135209031</c:v>
                </c:pt>
                <c:pt idx="1836">
                  <c:v>3.3237496638521065</c:v>
                </c:pt>
                <c:pt idx="1837">
                  <c:v>3.2441842091342012</c:v>
                </c:pt>
                <c:pt idx="1838">
                  <c:v>3.2438527471451737</c:v>
                </c:pt>
                <c:pt idx="1839">
                  <c:v>3.102894936869006</c:v>
                </c:pt>
                <c:pt idx="1840">
                  <c:v>2.9719115169392456</c:v>
                </c:pt>
                <c:pt idx="1841">
                  <c:v>3.0487085226229778</c:v>
                </c:pt>
                <c:pt idx="1842">
                  <c:v>3.0203610123892952</c:v>
                </c:pt>
                <c:pt idx="1843">
                  <c:v>3.0306676222507702</c:v>
                </c:pt>
                <c:pt idx="1844">
                  <c:v>3.064538766186907</c:v>
                </c:pt>
                <c:pt idx="1845">
                  <c:v>3.1181052973177938</c:v>
                </c:pt>
                <c:pt idx="1846">
                  <c:v>3.1291209387721612</c:v>
                </c:pt>
                <c:pt idx="1847">
                  <c:v>3.1291209387721612</c:v>
                </c:pt>
                <c:pt idx="1848">
                  <c:v>3.1592159092550678</c:v>
                </c:pt>
                <c:pt idx="1849">
                  <c:v>3.0550504633038935</c:v>
                </c:pt>
                <c:pt idx="1850">
                  <c:v>2.9910260044238646</c:v>
                </c:pt>
                <c:pt idx="1851">
                  <c:v>3.1383853118429226</c:v>
                </c:pt>
                <c:pt idx="1852">
                  <c:v>3.0518811403171742</c:v>
                </c:pt>
                <c:pt idx="1853">
                  <c:v>3.0983866769659336</c:v>
                </c:pt>
                <c:pt idx="1854">
                  <c:v>3.2188958235054219</c:v>
                </c:pt>
                <c:pt idx="1855">
                  <c:v>3.1765268109438591</c:v>
                </c:pt>
                <c:pt idx="1856">
                  <c:v>3.1738176191410075</c:v>
                </c:pt>
                <c:pt idx="1857">
                  <c:v>3.1907123281941798</c:v>
                </c:pt>
                <c:pt idx="1858">
                  <c:v>3.2902593289303059</c:v>
                </c:pt>
                <c:pt idx="1859">
                  <c:v>3.232895436481948</c:v>
                </c:pt>
                <c:pt idx="1860">
                  <c:v>3.1575136536709194</c:v>
                </c:pt>
                <c:pt idx="1861">
                  <c:v>3.2646691281244773</c:v>
                </c:pt>
                <c:pt idx="1862">
                  <c:v>3.2974411715100986</c:v>
                </c:pt>
                <c:pt idx="1863">
                  <c:v>3.3440687341806736</c:v>
                </c:pt>
                <c:pt idx="1864">
                  <c:v>3.3798899263109883</c:v>
                </c:pt>
                <c:pt idx="1865">
                  <c:v>3.3798899263109883</c:v>
                </c:pt>
                <c:pt idx="1866">
                  <c:v>3.3960761671866746</c:v>
                </c:pt>
                <c:pt idx="1867">
                  <c:v>3.4165945442164913</c:v>
                </c:pt>
                <c:pt idx="1868">
                  <c:v>3.4335473364769498</c:v>
                </c:pt>
                <c:pt idx="1869">
                  <c:v>3.4802051601865731</c:v>
                </c:pt>
                <c:pt idx="1870">
                  <c:v>3.4522861367349713</c:v>
                </c:pt>
                <c:pt idx="1871">
                  <c:v>3.4404300806418009</c:v>
                </c:pt>
                <c:pt idx="1872">
                  <c:v>3.4721627235045629</c:v>
                </c:pt>
                <c:pt idx="1873">
                  <c:v>3.572294825820042</c:v>
                </c:pt>
                <c:pt idx="1874">
                  <c:v>3.5828144160401254</c:v>
                </c:pt>
                <c:pt idx="1875">
                  <c:v>3.5774082046036617</c:v>
                </c:pt>
                <c:pt idx="1876">
                  <c:v>3.4675143711278964</c:v>
                </c:pt>
                <c:pt idx="1877">
                  <c:v>3.4675143711278964</c:v>
                </c:pt>
                <c:pt idx="1878">
                  <c:v>3.4922340879057909</c:v>
                </c:pt>
                <c:pt idx="1879">
                  <c:v>3.4922340879057909</c:v>
                </c:pt>
                <c:pt idx="1880">
                  <c:v>3.4783508637259111</c:v>
                </c:pt>
                <c:pt idx="1881">
                  <c:v>3.4203690928294259</c:v>
                </c:pt>
                <c:pt idx="1882">
                  <c:v>3.3337634131149221</c:v>
                </c:pt>
                <c:pt idx="1883">
                  <c:v>3.4131308743720039</c:v>
                </c:pt>
                <c:pt idx="1884">
                  <c:v>3.3337634131149221</c:v>
                </c:pt>
                <c:pt idx="1885">
                  <c:v>3.1913862562465134</c:v>
                </c:pt>
                <c:pt idx="1886">
                  <c:v>3.1913862562465134</c:v>
                </c:pt>
                <c:pt idx="1887">
                  <c:v>3.1363289272308394</c:v>
                </c:pt>
                <c:pt idx="1888">
                  <c:v>3.2335605728816375</c:v>
                </c:pt>
                <c:pt idx="1889">
                  <c:v>3.1588755315231896</c:v>
                </c:pt>
                <c:pt idx="1890">
                  <c:v>3.1923968815707062</c:v>
                </c:pt>
                <c:pt idx="1891">
                  <c:v>3.2235691165945819</c:v>
                </c:pt>
                <c:pt idx="1892">
                  <c:v>3.2235691165945819</c:v>
                </c:pt>
                <c:pt idx="1893">
                  <c:v>3.0655912092719726</c:v>
                </c:pt>
                <c:pt idx="1894">
                  <c:v>2.9267031618955581</c:v>
                </c:pt>
                <c:pt idx="1895">
                  <c:v>2.7774049929068063</c:v>
                </c:pt>
                <c:pt idx="1896">
                  <c:v>2.7924629742157001</c:v>
                </c:pt>
                <c:pt idx="1897">
                  <c:v>2.8329854308861009</c:v>
                </c:pt>
                <c:pt idx="1898">
                  <c:v>2.8189069795117021</c:v>
                </c:pt>
                <c:pt idx="1899">
                  <c:v>2.7376310299077886</c:v>
                </c:pt>
                <c:pt idx="1900">
                  <c:v>2.6680104141274392</c:v>
                </c:pt>
                <c:pt idx="1901">
                  <c:v>2.7309457182684973</c:v>
                </c:pt>
                <c:pt idx="1902">
                  <c:v>2.766154895016872</c:v>
                </c:pt>
                <c:pt idx="1903">
                  <c:v>2.6968719434874715</c:v>
                </c:pt>
                <c:pt idx="1904">
                  <c:v>2.3854397038376729</c:v>
                </c:pt>
                <c:pt idx="1905">
                  <c:v>2.4047444144700143</c:v>
                </c:pt>
                <c:pt idx="1906">
                  <c:v>2.3858904246171009</c:v>
                </c:pt>
                <c:pt idx="1907">
                  <c:v>2.3477282545024769</c:v>
                </c:pt>
                <c:pt idx="1908">
                  <c:v>2.2177194524764565</c:v>
                </c:pt>
                <c:pt idx="1909">
                  <c:v>1.96145655775421</c:v>
                </c:pt>
                <c:pt idx="1910">
                  <c:v>1.9526656717949569</c:v>
                </c:pt>
                <c:pt idx="1911">
                  <c:v>1.9680239529969896</c:v>
                </c:pt>
                <c:pt idx="1912">
                  <c:v>1.9680239529969896</c:v>
                </c:pt>
                <c:pt idx="1913">
                  <c:v>1.9734800875392633</c:v>
                </c:pt>
                <c:pt idx="1914">
                  <c:v>1.5261167249147483</c:v>
                </c:pt>
                <c:pt idx="1915">
                  <c:v>1.3271361356622933</c:v>
                </c:pt>
                <c:pt idx="1916">
                  <c:v>1.300950851600309</c:v>
                </c:pt>
                <c:pt idx="1917">
                  <c:v>1.1500350625790896</c:v>
                </c:pt>
                <c:pt idx="1918">
                  <c:v>1.1216347516589491</c:v>
                </c:pt>
                <c:pt idx="1919">
                  <c:v>1.0905261628351504</c:v>
                </c:pt>
                <c:pt idx="1920">
                  <c:v>1.0915117266719427</c:v>
                </c:pt>
                <c:pt idx="1921">
                  <c:v>1.120675679442819</c:v>
                </c:pt>
                <c:pt idx="1922">
                  <c:v>1.1453505825681702</c:v>
                </c:pt>
                <c:pt idx="1923">
                  <c:v>1.1071614388213233</c:v>
                </c:pt>
                <c:pt idx="1924">
                  <c:v>1.0816156771784882</c:v>
                </c:pt>
                <c:pt idx="1925">
                  <c:v>1.0766335425511488</c:v>
                </c:pt>
                <c:pt idx="1926">
                  <c:v>1.0503455652553653</c:v>
                </c:pt>
                <c:pt idx="1927">
                  <c:v>1.0885523582075136</c:v>
                </c:pt>
                <c:pt idx="1928">
                  <c:v>1.120675679442819</c:v>
                </c:pt>
                <c:pt idx="1929">
                  <c:v>1.0915117266719427</c:v>
                </c:pt>
                <c:pt idx="1930">
                  <c:v>1.0574873852167088</c:v>
                </c:pt>
                <c:pt idx="1931">
                  <c:v>1.5821585908029614</c:v>
                </c:pt>
                <c:pt idx="1932">
                  <c:v>2.0320020320030481</c:v>
                </c:pt>
                <c:pt idx="1933">
                  <c:v>2.0572452611480547</c:v>
                </c:pt>
                <c:pt idx="1934">
                  <c:v>2.0572452611480552</c:v>
                </c:pt>
                <c:pt idx="1935">
                  <c:v>2.0655911179772888</c:v>
                </c:pt>
                <c:pt idx="1936">
                  <c:v>2.0572452611480552</c:v>
                </c:pt>
                <c:pt idx="1937">
                  <c:v>2.1402441826320477</c:v>
                </c:pt>
                <c:pt idx="1938">
                  <c:v>2.1938329986137166</c:v>
                </c:pt>
                <c:pt idx="1939">
                  <c:v>2.487819790866685</c:v>
                </c:pt>
                <c:pt idx="1940">
                  <c:v>2.8215758580234285</c:v>
                </c:pt>
                <c:pt idx="1941">
                  <c:v>2.9204506943388915</c:v>
                </c:pt>
                <c:pt idx="1942">
                  <c:v>2.9563127280848622</c:v>
                </c:pt>
                <c:pt idx="1943">
                  <c:v>2.9563127280848622</c:v>
                </c:pt>
                <c:pt idx="1944">
                  <c:v>2.9635781918020538</c:v>
                </c:pt>
                <c:pt idx="1945">
                  <c:v>2.9635781918020538</c:v>
                </c:pt>
                <c:pt idx="1946">
                  <c:v>3.0352764661240421</c:v>
                </c:pt>
                <c:pt idx="1947">
                  <c:v>2.9751660295226889</c:v>
                </c:pt>
                <c:pt idx="1948">
                  <c:v>3.0075174630120745</c:v>
                </c:pt>
                <c:pt idx="1949">
                  <c:v>3.0391707980607054</c:v>
                </c:pt>
                <c:pt idx="1950">
                  <c:v>3.042353361872125</c:v>
                </c:pt>
                <c:pt idx="1951">
                  <c:v>3.0093045672538072</c:v>
                </c:pt>
                <c:pt idx="1952">
                  <c:v>3.1112007155555101</c:v>
                </c:pt>
                <c:pt idx="1953">
                  <c:v>3.1167256046408154</c:v>
                </c:pt>
                <c:pt idx="1954">
                  <c:v>3.1167256046408154</c:v>
                </c:pt>
                <c:pt idx="1955">
                  <c:v>3.0994276266599985</c:v>
                </c:pt>
                <c:pt idx="1956">
                  <c:v>3.0848223664026526</c:v>
                </c:pt>
                <c:pt idx="1957">
                  <c:v>3.0876096471758427</c:v>
                </c:pt>
                <c:pt idx="1958">
                  <c:v>2.9971312448614476</c:v>
                </c:pt>
                <c:pt idx="1959">
                  <c:v>2.900500512981588</c:v>
                </c:pt>
                <c:pt idx="1960">
                  <c:v>2.8466165541659474</c:v>
                </c:pt>
                <c:pt idx="1961">
                  <c:v>2.8466165541659474</c:v>
                </c:pt>
                <c:pt idx="1962">
                  <c:v>2.8676917397060828</c:v>
                </c:pt>
                <c:pt idx="1963">
                  <c:v>2.7195034334839843</c:v>
                </c:pt>
                <c:pt idx="1964">
                  <c:v>2.8676917397060828</c:v>
                </c:pt>
                <c:pt idx="1965">
                  <c:v>2.7653773391631362</c:v>
                </c:pt>
                <c:pt idx="1966">
                  <c:v>2.8097372930425331</c:v>
                </c:pt>
                <c:pt idx="1967">
                  <c:v>2.8230997986465658</c:v>
                </c:pt>
                <c:pt idx="1968">
                  <c:v>2.8070571587470607</c:v>
                </c:pt>
                <c:pt idx="1969">
                  <c:v>2.8333649587102814</c:v>
                </c:pt>
                <c:pt idx="1970">
                  <c:v>2.7123770474091233</c:v>
                </c:pt>
                <c:pt idx="1971">
                  <c:v>2.5782381247582604</c:v>
                </c:pt>
                <c:pt idx="1972">
                  <c:v>2.6844834908978719</c:v>
                </c:pt>
                <c:pt idx="1973">
                  <c:v>2.7040391929462202</c:v>
                </c:pt>
                <c:pt idx="1974">
                  <c:v>2.7427323320297385</c:v>
                </c:pt>
                <c:pt idx="1975">
                  <c:v>2.7427323320297381</c:v>
                </c:pt>
                <c:pt idx="1976">
                  <c:v>2.8131794280890894</c:v>
                </c:pt>
                <c:pt idx="1977">
                  <c:v>2.7591490039152387</c:v>
                </c:pt>
                <c:pt idx="1978">
                  <c:v>2.9182407426835204</c:v>
                </c:pt>
                <c:pt idx="1979">
                  <c:v>2.9182407426835204</c:v>
                </c:pt>
                <c:pt idx="1980">
                  <c:v>2.8341238618867961</c:v>
                </c:pt>
                <c:pt idx="1981">
                  <c:v>2.8518999514943251</c:v>
                </c:pt>
                <c:pt idx="1982">
                  <c:v>3.0487085226229773</c:v>
                </c:pt>
                <c:pt idx="1983">
                  <c:v>2.9719115169392456</c:v>
                </c:pt>
                <c:pt idx="1984">
                  <c:v>3.015016182484791</c:v>
                </c:pt>
                <c:pt idx="1985">
                  <c:v>3.0820325649127707</c:v>
                </c:pt>
                <c:pt idx="1986">
                  <c:v>3.12980812906018</c:v>
                </c:pt>
                <c:pt idx="1987">
                  <c:v>3.1304951684997055</c:v>
                </c:pt>
                <c:pt idx="1988">
                  <c:v>3.1277461052529079</c:v>
                </c:pt>
                <c:pt idx="1989">
                  <c:v>3.2607143488070407</c:v>
                </c:pt>
                <c:pt idx="1990">
                  <c:v>3.3340859365436373</c:v>
                </c:pt>
                <c:pt idx="1991">
                  <c:v>3.3757516088615267</c:v>
                </c:pt>
                <c:pt idx="1992">
                  <c:v>3.3501725200321393</c:v>
                </c:pt>
                <c:pt idx="1993">
                  <c:v>3.3003746936188278</c:v>
                </c:pt>
                <c:pt idx="1994">
                  <c:v>3.4532204075030748</c:v>
                </c:pt>
                <c:pt idx="1995">
                  <c:v>3.4055615487560336</c:v>
                </c:pt>
                <c:pt idx="1996">
                  <c:v>3.4128158209837505</c:v>
                </c:pt>
                <c:pt idx="1997">
                  <c:v>3.354983454280307</c:v>
                </c:pt>
                <c:pt idx="1998">
                  <c:v>3.3221317162004498</c:v>
                </c:pt>
                <c:pt idx="1999">
                  <c:v>3.3305364610344039</c:v>
                </c:pt>
                <c:pt idx="2000">
                  <c:v>3.3305364610344039</c:v>
                </c:pt>
                <c:pt idx="2001">
                  <c:v>3.3163005687611604</c:v>
                </c:pt>
                <c:pt idx="2002">
                  <c:v>3.2781452925609913</c:v>
                </c:pt>
                <c:pt idx="2003">
                  <c:v>3.1595562503181882</c:v>
                </c:pt>
                <c:pt idx="2004">
                  <c:v>3.2335605728816379</c:v>
                </c:pt>
                <c:pt idx="2005">
                  <c:v>3.31630056876116</c:v>
                </c:pt>
                <c:pt idx="2006">
                  <c:v>3.3163005687611604</c:v>
                </c:pt>
                <c:pt idx="2007">
                  <c:v>3.3652237938650833</c:v>
                </c:pt>
                <c:pt idx="2008">
                  <c:v>3.4609961894887884</c:v>
                </c:pt>
                <c:pt idx="2009">
                  <c:v>3.3741585968296062</c:v>
                </c:pt>
                <c:pt idx="2010">
                  <c:v>3.3741585968296062</c:v>
                </c:pt>
                <c:pt idx="2011">
                  <c:v>3.5075954450950602</c:v>
                </c:pt>
                <c:pt idx="2012">
                  <c:v>3.529598350539199</c:v>
                </c:pt>
                <c:pt idx="2013">
                  <c:v>3.413445898681537</c:v>
                </c:pt>
                <c:pt idx="2014">
                  <c:v>3.413445898681537</c:v>
                </c:pt>
                <c:pt idx="2015">
                  <c:v>3.4055615487560336</c:v>
                </c:pt>
                <c:pt idx="2016">
                  <c:v>3.345354667215775</c:v>
                </c:pt>
                <c:pt idx="2017">
                  <c:v>3.3153277137354564</c:v>
                </c:pt>
                <c:pt idx="2018">
                  <c:v>3.3443902637938563</c:v>
                </c:pt>
                <c:pt idx="2019">
                  <c:v>3.310459150170296</c:v>
                </c:pt>
                <c:pt idx="2020">
                  <c:v>3.3585070928126854</c:v>
                </c:pt>
                <c:pt idx="2021">
                  <c:v>3.3957595314890785</c:v>
                </c:pt>
                <c:pt idx="2022">
                  <c:v>3.3636257958672595</c:v>
                </c:pt>
                <c:pt idx="2023">
                  <c:v>3.3459974484047637</c:v>
                </c:pt>
                <c:pt idx="2024">
                  <c:v>3.3302135938472714</c:v>
                </c:pt>
                <c:pt idx="2025">
                  <c:v>3.2305663806498308</c:v>
                </c:pt>
                <c:pt idx="2026">
                  <c:v>3.184302898003982</c:v>
                </c:pt>
                <c:pt idx="2027">
                  <c:v>3.184302898003982</c:v>
                </c:pt>
                <c:pt idx="2028">
                  <c:v>3.174833836986295</c:v>
                </c:pt>
                <c:pt idx="2029">
                  <c:v>3.2633514008747819</c:v>
                </c:pt>
                <c:pt idx="2030">
                  <c:v>3.3700132414149095</c:v>
                </c:pt>
                <c:pt idx="2031">
                  <c:v>3.3900550317479468</c:v>
                </c:pt>
                <c:pt idx="2032">
                  <c:v>3.4077710054823895</c:v>
                </c:pt>
                <c:pt idx="2033">
                  <c:v>3.3150033652815436</c:v>
                </c:pt>
                <c:pt idx="2034">
                  <c:v>3.3052581113728028</c:v>
                </c:pt>
                <c:pt idx="2035">
                  <c:v>3.224569655375054</c:v>
                </c:pt>
                <c:pt idx="2036">
                  <c:v>3.1249946236512884</c:v>
                </c:pt>
                <c:pt idx="2037">
                  <c:v>3.0778431213383652</c:v>
                </c:pt>
                <c:pt idx="2038">
                  <c:v>3.0778431213383652</c:v>
                </c:pt>
                <c:pt idx="2039">
                  <c:v>3.0150161824847914</c:v>
                </c:pt>
                <c:pt idx="2040">
                  <c:v>2.9935414349196248</c:v>
                </c:pt>
                <c:pt idx="2041">
                  <c:v>2.9935414349196248</c:v>
                </c:pt>
                <c:pt idx="2042">
                  <c:v>2.8635642126552705</c:v>
                </c:pt>
                <c:pt idx="2043">
                  <c:v>2.8295673897087568</c:v>
                </c:pt>
                <c:pt idx="2044">
                  <c:v>2.8158537352043895</c:v>
                </c:pt>
                <c:pt idx="2045">
                  <c:v>2.7897662444951781</c:v>
                </c:pt>
                <c:pt idx="2046">
                  <c:v>2.811267651158746</c:v>
                </c:pt>
                <c:pt idx="2047">
                  <c:v>2.8567972141159492</c:v>
                </c:pt>
                <c:pt idx="2048">
                  <c:v>2.8043744630545078</c:v>
                </c:pt>
                <c:pt idx="2049">
                  <c:v>2.7859092452161196</c:v>
                </c:pt>
                <c:pt idx="2050">
                  <c:v>2.8307071953500338</c:v>
                </c:pt>
                <c:pt idx="2051">
                  <c:v>2.7131697924347908</c:v>
                </c:pt>
                <c:pt idx="2052">
                  <c:v>2.6196117253130944</c:v>
                </c:pt>
                <c:pt idx="2053">
                  <c:v>2.6072685827059687</c:v>
                </c:pt>
                <c:pt idx="2054">
                  <c:v>2.6502180880030419</c:v>
                </c:pt>
                <c:pt idx="2055">
                  <c:v>2.6708300832013507</c:v>
                </c:pt>
                <c:pt idx="2056">
                  <c:v>2.6708300832013507</c:v>
                </c:pt>
                <c:pt idx="2057">
                  <c:v>2.7970798905248486</c:v>
                </c:pt>
                <c:pt idx="2058">
                  <c:v>2.8541612706957866</c:v>
                </c:pt>
                <c:pt idx="2059">
                  <c:v>2.8541612706957866</c:v>
                </c:pt>
                <c:pt idx="2060">
                  <c:v>2.8691911864698256</c:v>
                </c:pt>
                <c:pt idx="2061">
                  <c:v>2.7439082087534405</c:v>
                </c:pt>
                <c:pt idx="2062">
                  <c:v>2.700059736495688</c:v>
                </c:pt>
                <c:pt idx="2063">
                  <c:v>2.700059736495688</c:v>
                </c:pt>
                <c:pt idx="2064">
                  <c:v>2.7131697924347908</c:v>
                </c:pt>
                <c:pt idx="2065">
                  <c:v>2.8158537352043895</c:v>
                </c:pt>
                <c:pt idx="2066">
                  <c:v>2.7928480087537881</c:v>
                </c:pt>
                <c:pt idx="2067">
                  <c:v>2.7897662444951785</c:v>
                </c:pt>
                <c:pt idx="2068">
                  <c:v>2.7897662444951785</c:v>
                </c:pt>
                <c:pt idx="2069">
                  <c:v>2.6228934199606972</c:v>
                </c:pt>
                <c:pt idx="2070">
                  <c:v>2.7123770474091229</c:v>
                </c:pt>
                <c:pt idx="2071">
                  <c:v>2.7123770474091229</c:v>
                </c:pt>
                <c:pt idx="2072">
                  <c:v>2.6290355564330521</c:v>
                </c:pt>
                <c:pt idx="2073">
                  <c:v>2.6183800294255648</c:v>
                </c:pt>
                <c:pt idx="2074">
                  <c:v>2.6183800294255648</c:v>
                </c:pt>
                <c:pt idx="2075">
                  <c:v>2.6183800294255648</c:v>
                </c:pt>
                <c:pt idx="2076">
                  <c:v>2.7348802336616349</c:v>
                </c:pt>
                <c:pt idx="2077">
                  <c:v>2.7909223048712684</c:v>
                </c:pt>
                <c:pt idx="2078">
                  <c:v>2.7175257563745623</c:v>
                </c:pt>
                <c:pt idx="2079">
                  <c:v>2.7793400624600983</c:v>
                </c:pt>
                <c:pt idx="2080">
                  <c:v>2.8127971766533837</c:v>
                </c:pt>
                <c:pt idx="2081">
                  <c:v>2.7901516511758166</c:v>
                </c:pt>
                <c:pt idx="2082">
                  <c:v>2.8127971766533837</c:v>
                </c:pt>
                <c:pt idx="2083">
                  <c:v>2.8211947442433392</c:v>
                </c:pt>
                <c:pt idx="2084">
                  <c:v>2.8211947442433387</c:v>
                </c:pt>
                <c:pt idx="2085">
                  <c:v>2.7657661444148522</c:v>
                </c:pt>
                <c:pt idx="2086">
                  <c:v>2.8567972141159488</c:v>
                </c:pt>
                <c:pt idx="2087">
                  <c:v>2.7897662444951781</c:v>
                </c:pt>
                <c:pt idx="2088">
                  <c:v>2.7897662444951785</c:v>
                </c:pt>
                <c:pt idx="2089">
                  <c:v>2.7376310299077886</c:v>
                </c:pt>
                <c:pt idx="2090">
                  <c:v>2.7866810721446864</c:v>
                </c:pt>
                <c:pt idx="2091">
                  <c:v>2.6257615382806523</c:v>
                </c:pt>
                <c:pt idx="2092">
                  <c:v>2.7103941704371683</c:v>
                </c:pt>
                <c:pt idx="2093">
                  <c:v>2.7536876545688203</c:v>
                </c:pt>
                <c:pt idx="2094">
                  <c:v>2.7970798905248482</c:v>
                </c:pt>
                <c:pt idx="2095">
                  <c:v>2.8211947442433383</c:v>
                </c:pt>
                <c:pt idx="2096">
                  <c:v>2.8059077460903614</c:v>
                </c:pt>
                <c:pt idx="2097">
                  <c:v>2.8162355717693304</c:v>
                </c:pt>
                <c:pt idx="2098">
                  <c:v>2.8131794280890894</c:v>
                </c:pt>
                <c:pt idx="2099">
                  <c:v>2.9657543601470402</c:v>
                </c:pt>
                <c:pt idx="2100">
                  <c:v>3.0494138340315162</c:v>
                </c:pt>
                <c:pt idx="2101">
                  <c:v>2.9885084566885411</c:v>
                </c:pt>
                <c:pt idx="2102">
                  <c:v>3.193070454081961</c:v>
                </c:pt>
                <c:pt idx="2103">
                  <c:v>3.1660157791739598</c:v>
                </c:pt>
                <c:pt idx="2104">
                  <c:v>3.3385979930413585</c:v>
                </c:pt>
                <c:pt idx="2105">
                  <c:v>3.4820584691810823</c:v>
                </c:pt>
                <c:pt idx="2106">
                  <c:v>3.5608383693272461</c:v>
                </c:pt>
                <c:pt idx="2107">
                  <c:v>3.5210580032662899</c:v>
                </c:pt>
                <c:pt idx="2108">
                  <c:v>3.4432417833336397</c:v>
                </c:pt>
                <c:pt idx="2109">
                  <c:v>3.5774082046036617</c:v>
                </c:pt>
                <c:pt idx="2110">
                  <c:v>3.6553098805136401</c:v>
                </c:pt>
                <c:pt idx="2111">
                  <c:v>3.6553098805136401</c:v>
                </c:pt>
                <c:pt idx="2112">
                  <c:v>3.6399810941255448</c:v>
                </c:pt>
                <c:pt idx="2113">
                  <c:v>3.6399810941255448</c:v>
                </c:pt>
                <c:pt idx="2114">
                  <c:v>3.6399810941255453</c:v>
                </c:pt>
                <c:pt idx="2115">
                  <c:v>3.6180550825885942</c:v>
                </c:pt>
                <c:pt idx="2116">
                  <c:v>3.6886923987916398</c:v>
                </c:pt>
                <c:pt idx="2117">
                  <c:v>3.7304328210353912</c:v>
                </c:pt>
                <c:pt idx="2118">
                  <c:v>3.7876426123830353</c:v>
                </c:pt>
                <c:pt idx="2119">
                  <c:v>3.6886923987916402</c:v>
                </c:pt>
                <c:pt idx="2120">
                  <c:v>3.6764288422677334</c:v>
                </c:pt>
                <c:pt idx="2121">
                  <c:v>3.6764288422677334</c:v>
                </c:pt>
                <c:pt idx="2122">
                  <c:v>3.67818328228278</c:v>
                </c:pt>
                <c:pt idx="2123">
                  <c:v>3.5677769350205355</c:v>
                </c:pt>
                <c:pt idx="2124">
                  <c:v>3.6614821606698049</c:v>
                </c:pt>
                <c:pt idx="2125">
                  <c:v>3.735905411986741</c:v>
                </c:pt>
                <c:pt idx="2126">
                  <c:v>3.6399810941255453</c:v>
                </c:pt>
                <c:pt idx="2127">
                  <c:v>3.6787679096857051</c:v>
                </c:pt>
                <c:pt idx="2128">
                  <c:v>3.6417530931404256</c:v>
                </c:pt>
                <c:pt idx="2129">
                  <c:v>3.7413699980576096</c:v>
                </c:pt>
                <c:pt idx="2130">
                  <c:v>3.6796446766279698</c:v>
                </c:pt>
                <c:pt idx="2131">
                  <c:v>3.6582503603395891</c:v>
                </c:pt>
                <c:pt idx="2132">
                  <c:v>3.6156767388097473</c:v>
                </c:pt>
                <c:pt idx="2133">
                  <c:v>3.6156767388097473</c:v>
                </c:pt>
                <c:pt idx="2134">
                  <c:v>3.6121062869130789</c:v>
                </c:pt>
                <c:pt idx="2135">
                  <c:v>3.576205714416882</c:v>
                </c:pt>
                <c:pt idx="2136">
                  <c:v>3.576205714416882</c:v>
                </c:pt>
                <c:pt idx="2137">
                  <c:v>3.4829847538711576</c:v>
                </c:pt>
                <c:pt idx="2138">
                  <c:v>3.4625492504552131</c:v>
                </c:pt>
                <c:pt idx="2139">
                  <c:v>3.4625492504552131</c:v>
                </c:pt>
                <c:pt idx="2140">
                  <c:v>3.3661822285341194</c:v>
                </c:pt>
                <c:pt idx="2141">
                  <c:v>3.1987900938505054</c:v>
                </c:pt>
                <c:pt idx="2142">
                  <c:v>3.2961365458718883</c:v>
                </c:pt>
                <c:pt idx="2143">
                  <c:v>3.2935257442377743</c:v>
                </c:pt>
                <c:pt idx="2144">
                  <c:v>3.3747958918767154</c:v>
                </c:pt>
                <c:pt idx="2145">
                  <c:v>3.4222548059706557</c:v>
                </c:pt>
                <c:pt idx="2146">
                  <c:v>3.4721627235045633</c:v>
                </c:pt>
                <c:pt idx="2147">
                  <c:v>3.3305364610344039</c:v>
                </c:pt>
                <c:pt idx="2148">
                  <c:v>3.2643397461806307</c:v>
                </c:pt>
                <c:pt idx="2149">
                  <c:v>3.1994623204196273</c:v>
                </c:pt>
                <c:pt idx="2150">
                  <c:v>3.206176834248716</c:v>
                </c:pt>
                <c:pt idx="2151">
                  <c:v>3.3143545731498216</c:v>
                </c:pt>
                <c:pt idx="2152">
                  <c:v>3.340207964680018</c:v>
                </c:pt>
                <c:pt idx="2153">
                  <c:v>3.4466751939330056</c:v>
                </c:pt>
                <c:pt idx="2154">
                  <c:v>3.4466751939330056</c:v>
                </c:pt>
                <c:pt idx="2155">
                  <c:v>3.3620270383284563</c:v>
                </c:pt>
                <c:pt idx="2156">
                  <c:v>3.3000488754933861</c:v>
                </c:pt>
                <c:pt idx="2157">
                  <c:v>3.3000488754933865</c:v>
                </c:pt>
                <c:pt idx="2158">
                  <c:v>3.3000488754933861</c:v>
                </c:pt>
                <c:pt idx="2159">
                  <c:v>3.3661822285341194</c:v>
                </c:pt>
                <c:pt idx="2160">
                  <c:v>3.2491520812839507</c:v>
                </c:pt>
                <c:pt idx="2161">
                  <c:v>3.3208367905164069</c:v>
                </c:pt>
                <c:pt idx="2162">
                  <c:v>3.3260134683127571</c:v>
                </c:pt>
                <c:pt idx="2163">
                  <c:v>3.3104591501702969</c:v>
                </c:pt>
                <c:pt idx="2164">
                  <c:v>3.1711061127774678</c:v>
                </c:pt>
                <c:pt idx="2165">
                  <c:v>3.1711061127774678</c:v>
                </c:pt>
                <c:pt idx="2166">
                  <c:v>3.026762349868362</c:v>
                </c:pt>
                <c:pt idx="2167">
                  <c:v>2.9274378683617317</c:v>
                </c:pt>
                <c:pt idx="2168">
                  <c:v>2.8949343967161538</c:v>
                </c:pt>
                <c:pt idx="2169">
                  <c:v>2.9027239709646704</c:v>
                </c:pt>
                <c:pt idx="2170">
                  <c:v>3.0207169981306929</c:v>
                </c:pt>
                <c:pt idx="2171">
                  <c:v>2.9045755524318775</c:v>
                </c:pt>
                <c:pt idx="2172">
                  <c:v>2.8718133344555996</c:v>
                </c:pt>
                <c:pt idx="2173">
                  <c:v>2.8246229170733415</c:v>
                </c:pt>
                <c:pt idx="2174">
                  <c:v>2.9145537661731304</c:v>
                </c:pt>
                <c:pt idx="2175">
                  <c:v>2.9563127280848622</c:v>
                </c:pt>
                <c:pt idx="2176">
                  <c:v>3.1067045085147384</c:v>
                </c:pt>
                <c:pt idx="2177">
                  <c:v>2.9910260044238641</c:v>
                </c:pt>
                <c:pt idx="2178">
                  <c:v>2.966116899645999</c:v>
                </c:pt>
                <c:pt idx="2179">
                  <c:v>3.0750469880141056</c:v>
                </c:pt>
                <c:pt idx="2180">
                  <c:v>3.0718982958074874</c:v>
                </c:pt>
                <c:pt idx="2181">
                  <c:v>3.1073966561246444</c:v>
                </c:pt>
                <c:pt idx="2182">
                  <c:v>3.1073966561246444</c:v>
                </c:pt>
                <c:pt idx="2183">
                  <c:v>3.1073966561246444</c:v>
                </c:pt>
                <c:pt idx="2184">
                  <c:v>2.9899473149600078</c:v>
                </c:pt>
                <c:pt idx="2185">
                  <c:v>3.0603253745066819</c:v>
                </c:pt>
                <c:pt idx="2186">
                  <c:v>3.12086285283999</c:v>
                </c:pt>
                <c:pt idx="2187">
                  <c:v>3.0952617274295759</c:v>
                </c:pt>
                <c:pt idx="2188">
                  <c:v>3.2018140019722892</c:v>
                </c:pt>
                <c:pt idx="2189">
                  <c:v>3.2018140019722892</c:v>
                </c:pt>
                <c:pt idx="2190">
                  <c:v>3.1592159092550673</c:v>
                </c:pt>
                <c:pt idx="2191">
                  <c:v>3.2728929033790961</c:v>
                </c:pt>
                <c:pt idx="2192">
                  <c:v>3.3143545731498216</c:v>
                </c:pt>
                <c:pt idx="2193">
                  <c:v>3.2850263087930314</c:v>
                </c:pt>
                <c:pt idx="2194">
                  <c:v>3.2305663806498304</c:v>
                </c:pt>
                <c:pt idx="2195">
                  <c:v>3.2185617572055745</c:v>
                </c:pt>
                <c:pt idx="2196">
                  <c:v>3.3508143770205048</c:v>
                </c:pt>
                <c:pt idx="2197">
                  <c:v>3.3508143770205048</c:v>
                </c:pt>
                <c:pt idx="2198">
                  <c:v>3.4783508637259111</c:v>
                </c:pt>
                <c:pt idx="2199">
                  <c:v>3.4634807527588753</c:v>
                </c:pt>
                <c:pt idx="2200">
                  <c:v>3.5753035813654668</c:v>
                </c:pt>
                <c:pt idx="2201">
                  <c:v>3.6180550825885942</c:v>
                </c:pt>
                <c:pt idx="2202">
                  <c:v>3.7235085778110224</c:v>
                </c:pt>
                <c:pt idx="2203">
                  <c:v>3.7853708217378816</c:v>
                </c:pt>
                <c:pt idx="2204">
                  <c:v>3.8209946349085602</c:v>
                </c:pt>
                <c:pt idx="2205">
                  <c:v>3.8209946349085602</c:v>
                </c:pt>
                <c:pt idx="2206">
                  <c:v>3.7700004278257655</c:v>
                </c:pt>
                <c:pt idx="2207">
                  <c:v>3.7102009915703298</c:v>
                </c:pt>
                <c:pt idx="2208">
                  <c:v>3.7802543010550438</c:v>
                </c:pt>
                <c:pt idx="2209">
                  <c:v>3.816489407537961</c:v>
                </c:pt>
                <c:pt idx="2210">
                  <c:v>3.816489407537961</c:v>
                </c:pt>
                <c:pt idx="2211">
                  <c:v>3.8153622694721698</c:v>
                </c:pt>
                <c:pt idx="2212">
                  <c:v>3.7989811877023194</c:v>
                </c:pt>
                <c:pt idx="2213">
                  <c:v>3.7502688075699662</c:v>
                </c:pt>
                <c:pt idx="2214">
                  <c:v>3.687817782917155</c:v>
                </c:pt>
                <c:pt idx="2215">
                  <c:v>3.6180550825885938</c:v>
                </c:pt>
                <c:pt idx="2216">
                  <c:v>3.5158626711776786</c:v>
                </c:pt>
                <c:pt idx="2217">
                  <c:v>3.4826760196814925</c:v>
                </c:pt>
                <c:pt idx="2218">
                  <c:v>3.4937732629498481</c:v>
                </c:pt>
                <c:pt idx="2219">
                  <c:v>3.4253953543107007</c:v>
                </c:pt>
                <c:pt idx="2220">
                  <c:v>3.4494818061823129</c:v>
                </c:pt>
                <c:pt idx="2221">
                  <c:v>3.5441910674483457</c:v>
                </c:pt>
                <c:pt idx="2222">
                  <c:v>3.4344867046956513</c:v>
                </c:pt>
                <c:pt idx="2223">
                  <c:v>3.5472236606851744</c:v>
                </c:pt>
                <c:pt idx="2224">
                  <c:v>3.6121062869130793</c:v>
                </c:pt>
                <c:pt idx="2225">
                  <c:v>3.931401019801291</c:v>
                </c:pt>
                <c:pt idx="2226">
                  <c:v>4.051284145281155</c:v>
                </c:pt>
                <c:pt idx="2227">
                  <c:v>4.0160966445124959</c:v>
                </c:pt>
                <c:pt idx="2228">
                  <c:v>4.2502371850324137</c:v>
                </c:pt>
                <c:pt idx="2229">
                  <c:v>4.253524787547331</c:v>
                </c:pt>
                <c:pt idx="2230">
                  <c:v>4.2922786389024754</c:v>
                </c:pt>
                <c:pt idx="2231">
                  <c:v>4.2719389468473672</c:v>
                </c:pt>
                <c:pt idx="2232">
                  <c:v>4.1369044580004086</c:v>
                </c:pt>
                <c:pt idx="2233">
                  <c:v>4.1369044580004086</c:v>
                </c:pt>
                <c:pt idx="2234">
                  <c:v>3.9822185419849871</c:v>
                </c:pt>
                <c:pt idx="2235">
                  <c:v>3.8574045539031965</c:v>
                </c:pt>
                <c:pt idx="2236">
                  <c:v>4.0008063703337635</c:v>
                </c:pt>
                <c:pt idx="2237">
                  <c:v>3.7978488534930519</c:v>
                </c:pt>
                <c:pt idx="2238">
                  <c:v>3.9428716133219184</c:v>
                </c:pt>
                <c:pt idx="2239">
                  <c:v>4.0313289252088831</c:v>
                </c:pt>
                <c:pt idx="2240">
                  <c:v>3.8590767183718411</c:v>
                </c:pt>
                <c:pt idx="2241">
                  <c:v>3.7000435917222858</c:v>
                </c:pt>
                <c:pt idx="2242">
                  <c:v>3.5359900744277568</c:v>
                </c:pt>
                <c:pt idx="2243">
                  <c:v>3.4715433028014795</c:v>
                </c:pt>
                <c:pt idx="2244">
                  <c:v>3.4789690723620428</c:v>
                </c:pt>
                <c:pt idx="2245">
                  <c:v>3.2249030993194201</c:v>
                </c:pt>
                <c:pt idx="2246">
                  <c:v>3.1448883256238469</c:v>
                </c:pt>
                <c:pt idx="2247">
                  <c:v>3.1663553893416494</c:v>
                </c:pt>
                <c:pt idx="2248">
                  <c:v>3.1280898702817246</c:v>
                </c:pt>
                <c:pt idx="2249">
                  <c:v>2.8511457798689479</c:v>
                </c:pt>
                <c:pt idx="2250">
                  <c:v>2.7000597364956889</c:v>
                </c:pt>
                <c:pt idx="2251">
                  <c:v>2.150768804779561</c:v>
                </c:pt>
                <c:pt idx="2252">
                  <c:v>2.150768804779561</c:v>
                </c:pt>
                <c:pt idx="2253">
                  <c:v>1.9293990373070287</c:v>
                </c:pt>
                <c:pt idx="2254">
                  <c:v>1.9471512138152918</c:v>
                </c:pt>
                <c:pt idx="2255">
                  <c:v>1.8933954253032148</c:v>
                </c:pt>
                <c:pt idx="2256">
                  <c:v>1.8933954253032146</c:v>
                </c:pt>
                <c:pt idx="2257">
                  <c:v>1.9388501192578644</c:v>
                </c:pt>
                <c:pt idx="2258">
                  <c:v>1.978377743158181</c:v>
                </c:pt>
                <c:pt idx="2259">
                  <c:v>1.9488071896330819</c:v>
                </c:pt>
                <c:pt idx="2260">
                  <c:v>1.9488071896330819</c:v>
                </c:pt>
                <c:pt idx="2261">
                  <c:v>1.9696623803264144</c:v>
                </c:pt>
                <c:pt idx="2262">
                  <c:v>1.9316269815103857</c:v>
                </c:pt>
                <c:pt idx="2263">
                  <c:v>1.9897587253097382</c:v>
                </c:pt>
                <c:pt idx="2264">
                  <c:v>1.9783777431581813</c:v>
                </c:pt>
                <c:pt idx="2265">
                  <c:v>1.9482553540876466</c:v>
                </c:pt>
                <c:pt idx="2266">
                  <c:v>2.1557624702079292</c:v>
                </c:pt>
                <c:pt idx="2267">
                  <c:v>2.5530921585192483</c:v>
                </c:pt>
                <c:pt idx="2268">
                  <c:v>2.6607461157489487</c:v>
                </c:pt>
                <c:pt idx="2269">
                  <c:v>2.7167342824226157</c:v>
                </c:pt>
                <c:pt idx="2270">
                  <c:v>2.7777921146583417</c:v>
                </c:pt>
                <c:pt idx="2271">
                  <c:v>2.9336754443706328</c:v>
                </c:pt>
                <c:pt idx="2272">
                  <c:v>2.948664724229253</c:v>
                </c:pt>
                <c:pt idx="2273">
                  <c:v>3.0416464132482273</c:v>
                </c:pt>
                <c:pt idx="2274">
                  <c:v>3.0959564332462981</c:v>
                </c:pt>
                <c:pt idx="2275">
                  <c:v>10.971811389250655</c:v>
                </c:pt>
                <c:pt idx="2276">
                  <c:v>14.971873271147857</c:v>
                </c:pt>
                <c:pt idx="2277">
                  <c:v>17.929671449292364</c:v>
                </c:pt>
                <c:pt idx="2278">
                  <c:v>20.268148644174822</c:v>
                </c:pt>
                <c:pt idx="2279">
                  <c:v>22.195417525691759</c:v>
                </c:pt>
                <c:pt idx="2280">
                  <c:v>23.811536013282044</c:v>
                </c:pt>
                <c:pt idx="2281">
                  <c:v>25.223730079823341</c:v>
                </c:pt>
                <c:pt idx="2282">
                  <c:v>26.461739472566396</c:v>
                </c:pt>
                <c:pt idx="2283">
                  <c:v>27.515743294199016</c:v>
                </c:pt>
                <c:pt idx="2284">
                  <c:v>28.416601236010816</c:v>
                </c:pt>
                <c:pt idx="2285">
                  <c:v>29.116857623195919</c:v>
                </c:pt>
                <c:pt idx="2286">
                  <c:v>29.702467223107661</c:v>
                </c:pt>
                <c:pt idx="2287">
                  <c:v>30.10976335779419</c:v>
                </c:pt>
                <c:pt idx="2288">
                  <c:v>30.388700503305007</c:v>
                </c:pt>
                <c:pt idx="2289">
                  <c:v>30.542795641384856</c:v>
                </c:pt>
                <c:pt idx="2290">
                  <c:v>30.606029344854004</c:v>
                </c:pt>
                <c:pt idx="2291">
                  <c:v>30.321822227989635</c:v>
                </c:pt>
                <c:pt idx="2292">
                  <c:v>30.085076499104822</c:v>
                </c:pt>
                <c:pt idx="2293">
                  <c:v>29.950748101307202</c:v>
                </c:pt>
                <c:pt idx="2294">
                  <c:v>29.755093537037478</c:v>
                </c:pt>
                <c:pt idx="2295">
                  <c:v>29.658885049266289</c:v>
                </c:pt>
                <c:pt idx="2296">
                  <c:v>29.497111212667473</c:v>
                </c:pt>
                <c:pt idx="2297">
                  <c:v>29.042460572910006</c:v>
                </c:pt>
                <c:pt idx="2298">
                  <c:v>28.413081948399256</c:v>
                </c:pt>
                <c:pt idx="2299">
                  <c:v>27.82317437421662</c:v>
                </c:pt>
                <c:pt idx="2300">
                  <c:v>27.523831316199072</c:v>
                </c:pt>
                <c:pt idx="2301">
                  <c:v>27.064955716885798</c:v>
                </c:pt>
                <c:pt idx="2302">
                  <c:v>26.542398624298876</c:v>
                </c:pt>
                <c:pt idx="2303">
                  <c:v>26.193366967961175</c:v>
                </c:pt>
                <c:pt idx="2304">
                  <c:v>25.533953781169981</c:v>
                </c:pt>
                <c:pt idx="2305">
                  <c:v>25.176367139950742</c:v>
                </c:pt>
                <c:pt idx="2306">
                  <c:v>25.300558878607653</c:v>
                </c:pt>
                <c:pt idx="2307">
                  <c:v>25.375248290537996</c:v>
                </c:pt>
                <c:pt idx="2308">
                  <c:v>25.19523764523764</c:v>
                </c:pt>
                <c:pt idx="2309">
                  <c:v>24.989288027653611</c:v>
                </c:pt>
                <c:pt idx="2310">
                  <c:v>24.463182782049373</c:v>
                </c:pt>
                <c:pt idx="2311">
                  <c:v>23.932881057217593</c:v>
                </c:pt>
                <c:pt idx="2312">
                  <c:v>23.24918775318389</c:v>
                </c:pt>
                <c:pt idx="2313">
                  <c:v>22.406748215468433</c:v>
                </c:pt>
                <c:pt idx="2314">
                  <c:v>21.427998968287874</c:v>
                </c:pt>
                <c:pt idx="2315">
                  <c:v>20.27016452554032</c:v>
                </c:pt>
                <c:pt idx="2316">
                  <c:v>18.915488334291851</c:v>
                </c:pt>
                <c:pt idx="2317">
                  <c:v>17.346252422880269</c:v>
                </c:pt>
                <c:pt idx="2318">
                  <c:v>15.351368542544742</c:v>
                </c:pt>
                <c:pt idx="2319">
                  <c:v>12.872075302011131</c:v>
                </c:pt>
                <c:pt idx="2320">
                  <c:v>9.4828651357485558</c:v>
                </c:pt>
                <c:pt idx="2321">
                  <c:v>2.9992830684567244</c:v>
                </c:pt>
                <c:pt idx="2322">
                  <c:v>2.9523091017469811</c:v>
                </c:pt>
                <c:pt idx="2323">
                  <c:v>2.8725620799602924</c:v>
                </c:pt>
                <c:pt idx="2324">
                  <c:v>3.0327956512705554</c:v>
                </c:pt>
                <c:pt idx="2325">
                  <c:v>3.042353361872125</c:v>
                </c:pt>
                <c:pt idx="2326">
                  <c:v>2.9595843939557187</c:v>
                </c:pt>
                <c:pt idx="2327">
                  <c:v>2.9067958933491354</c:v>
                </c:pt>
                <c:pt idx="2328">
                  <c:v>3.0264070752207539</c:v>
                </c:pt>
                <c:pt idx="2329">
                  <c:v>2.9193459276285307</c:v>
                </c:pt>
                <c:pt idx="2330">
                  <c:v>2.7540781101049294</c:v>
                </c:pt>
                <c:pt idx="2331">
                  <c:v>2.7187125352751744</c:v>
                </c:pt>
                <c:pt idx="2332">
                  <c:v>2.7127734488796214</c:v>
                </c:pt>
                <c:pt idx="2333">
                  <c:v>2.8967909571562749</c:v>
                </c:pt>
                <c:pt idx="2334">
                  <c:v>2.9614004243125041</c:v>
                </c:pt>
                <c:pt idx="2335">
                  <c:v>2.8616860959629995</c:v>
                </c:pt>
                <c:pt idx="2336">
                  <c:v>2.8230997986465658</c:v>
                </c:pt>
                <c:pt idx="2337">
                  <c:v>2.9366061898011617</c:v>
                </c:pt>
                <c:pt idx="2338">
                  <c:v>2.8860062817091228</c:v>
                </c:pt>
                <c:pt idx="2339">
                  <c:v>2.8807854365056054</c:v>
                </c:pt>
                <c:pt idx="2340">
                  <c:v>2.8718133344555992</c:v>
                </c:pt>
                <c:pt idx="2341">
                  <c:v>2.8807854365056058</c:v>
                </c:pt>
                <c:pt idx="2342">
                  <c:v>2.9635781918020538</c:v>
                </c:pt>
                <c:pt idx="2343">
                  <c:v>3.0437667665299615</c:v>
                </c:pt>
                <c:pt idx="2344">
                  <c:v>3.0732981128296974</c:v>
                </c:pt>
                <c:pt idx="2345">
                  <c:v>3.0858678917220828</c:v>
                </c:pt>
                <c:pt idx="2346">
                  <c:v>3.0858678917220828</c:v>
                </c:pt>
                <c:pt idx="2347">
                  <c:v>3.1150001294464844</c:v>
                </c:pt>
                <c:pt idx="2348">
                  <c:v>3.1150001294464844</c:v>
                </c:pt>
                <c:pt idx="2349">
                  <c:v>3.1067045085147393</c:v>
                </c:pt>
                <c:pt idx="2350">
                  <c:v>3.2527903654078787</c:v>
                </c:pt>
                <c:pt idx="2351">
                  <c:v>3.259724904284548</c:v>
                </c:pt>
                <c:pt idx="2352">
                  <c:v>3.3062339293672078</c:v>
                </c:pt>
                <c:pt idx="2353">
                  <c:v>3.3237496638521065</c:v>
                </c:pt>
                <c:pt idx="2354">
                  <c:v>3.323749663852106</c:v>
                </c:pt>
                <c:pt idx="2355">
                  <c:v>3.1890268849789081</c:v>
                </c:pt>
                <c:pt idx="2356">
                  <c:v>3.1112007155555106</c:v>
                </c:pt>
                <c:pt idx="2357">
                  <c:v>3.1407827255371012</c:v>
                </c:pt>
                <c:pt idx="2358">
                  <c:v>3.1816003276906559</c:v>
                </c:pt>
                <c:pt idx="2359">
                  <c:v>3.1243063746343194</c:v>
                </c:pt>
                <c:pt idx="2360">
                  <c:v>3.2607143488070407</c:v>
                </c:pt>
                <c:pt idx="2361">
                  <c:v>3.3798899263109883</c:v>
                </c:pt>
                <c:pt idx="2362">
                  <c:v>3.444490692255135</c:v>
                </c:pt>
                <c:pt idx="2363">
                  <c:v>3.4532204075030748</c:v>
                </c:pt>
                <c:pt idx="2364">
                  <c:v>3.4532204075030748</c:v>
                </c:pt>
                <c:pt idx="2365">
                  <c:v>3.4820584691810827</c:v>
                </c:pt>
                <c:pt idx="2366">
                  <c:v>3.4522861367349709</c:v>
                </c:pt>
                <c:pt idx="2367">
                  <c:v>3.5002304071626202</c:v>
                </c:pt>
                <c:pt idx="2368">
                  <c:v>3.3957595314890776</c:v>
                </c:pt>
                <c:pt idx="2369">
                  <c:v>3.3585070928126863</c:v>
                </c:pt>
                <c:pt idx="2370">
                  <c:v>3.3661822285341185</c:v>
                </c:pt>
                <c:pt idx="2371">
                  <c:v>3.3107839438085729</c:v>
                </c:pt>
                <c:pt idx="2372">
                  <c:v>3.2534514344860197</c:v>
                </c:pt>
                <c:pt idx="2373">
                  <c:v>3.2081884480621725</c:v>
                </c:pt>
                <c:pt idx="2374">
                  <c:v>3.0886542289865595</c:v>
                </c:pt>
                <c:pt idx="2375">
                  <c:v>3.0260517588620042</c:v>
                </c:pt>
                <c:pt idx="2376">
                  <c:v>2.9992830684567244</c:v>
                </c:pt>
                <c:pt idx="2377">
                  <c:v>3.1243063746343189</c:v>
                </c:pt>
                <c:pt idx="2378">
                  <c:v>3.1700886999564224</c:v>
                </c:pt>
                <c:pt idx="2379">
                  <c:v>3.0603253745066814</c:v>
                </c:pt>
                <c:pt idx="2380">
                  <c:v>3.0589196209302121</c:v>
                </c:pt>
                <c:pt idx="2381">
                  <c:v>3.1028949368690055</c:v>
                </c:pt>
                <c:pt idx="2382">
                  <c:v>3.1829518996835198</c:v>
                </c:pt>
                <c:pt idx="2383">
                  <c:v>3.2232355346496098</c:v>
                </c:pt>
                <c:pt idx="2384">
                  <c:v>3.3120827998584641</c:v>
                </c:pt>
                <c:pt idx="2385">
                  <c:v>3.2431897215384224</c:v>
                </c:pt>
                <c:pt idx="2386">
                  <c:v>3.274863536515026</c:v>
                </c:pt>
                <c:pt idx="2387">
                  <c:v>3.2232355346496098</c:v>
                </c:pt>
                <c:pt idx="2388">
                  <c:v>3.2534514344860193</c:v>
                </c:pt>
                <c:pt idx="2389">
                  <c:v>3.3049327746810966</c:v>
                </c:pt>
                <c:pt idx="2390">
                  <c:v>3.3732024285026112</c:v>
                </c:pt>
                <c:pt idx="2391">
                  <c:v>3.2748635365150256</c:v>
                </c:pt>
                <c:pt idx="2392">
                  <c:v>3.1748338369862954</c:v>
                </c:pt>
                <c:pt idx="2393">
                  <c:v>3.1510366957660962</c:v>
                </c:pt>
                <c:pt idx="2394">
                  <c:v>3.0652404350607125</c:v>
                </c:pt>
                <c:pt idx="2395">
                  <c:v>3.0652404350607121</c:v>
                </c:pt>
                <c:pt idx="2396">
                  <c:v>3.0652404350607121</c:v>
                </c:pt>
                <c:pt idx="2397">
                  <c:v>3.0652404350607121</c:v>
                </c:pt>
                <c:pt idx="2398">
                  <c:v>3.0384631089608649</c:v>
                </c:pt>
                <c:pt idx="2399">
                  <c:v>3.0869130629262171</c:v>
                </c:pt>
                <c:pt idx="2400">
                  <c:v>3.0869130629262171</c:v>
                </c:pt>
                <c:pt idx="2401">
                  <c:v>3.1304951684997055</c:v>
                </c:pt>
                <c:pt idx="2402">
                  <c:v>3.1876778887743105</c:v>
                </c:pt>
                <c:pt idx="2403">
                  <c:v>3.2438527471451737</c:v>
                </c:pt>
                <c:pt idx="2404">
                  <c:v>3.1500128007932431</c:v>
                </c:pt>
                <c:pt idx="2405">
                  <c:v>3.2438527471451737</c:v>
                </c:pt>
                <c:pt idx="2406">
                  <c:v>3.338597993041359</c:v>
                </c:pt>
                <c:pt idx="2407">
                  <c:v>3.3871991791995186</c:v>
                </c:pt>
                <c:pt idx="2408">
                  <c:v>3.4326077111905358</c:v>
                </c:pt>
                <c:pt idx="2409">
                  <c:v>3.3565855667130946</c:v>
                </c:pt>
                <c:pt idx="2410">
                  <c:v>3.3935422543793474</c:v>
                </c:pt>
                <c:pt idx="2411">
                  <c:v>3.3565855667130946</c:v>
                </c:pt>
                <c:pt idx="2412">
                  <c:v>3.3881513975135653</c:v>
                </c:pt>
                <c:pt idx="2413">
                  <c:v>3.3938590969414855</c:v>
                </c:pt>
                <c:pt idx="2414">
                  <c:v>3.3421389069154919</c:v>
                </c:pt>
                <c:pt idx="2415">
                  <c:v>3.2531209167389905</c:v>
                </c:pt>
                <c:pt idx="2416">
                  <c:v>3.2091937821176821</c:v>
                </c:pt>
                <c:pt idx="2417">
                  <c:v>3.2352228156135809</c:v>
                </c:pt>
                <c:pt idx="2418">
                  <c:v>3.2182276562281644</c:v>
                </c:pt>
                <c:pt idx="2419">
                  <c:v>3.1778805407350967</c:v>
                </c:pt>
                <c:pt idx="2420">
                  <c:v>3.0010750761857365</c:v>
                </c:pt>
                <c:pt idx="2421">
                  <c:v>2.9152915345095058</c:v>
                </c:pt>
                <c:pt idx="2422">
                  <c:v>3.0522334498294961</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pt idx="2452">
                  <c:v>#N/A</c:v>
                </c:pt>
              </c:numCache>
            </c:numRef>
          </c:val>
          <c:smooth val="0"/>
          <c:extLst>
            <c:ext xmlns:c16="http://schemas.microsoft.com/office/drawing/2014/chart" uri="{C3380CC4-5D6E-409C-BE32-E72D297353CC}">
              <c16:uniqueId val="{00000002-BF3F-43A4-B953-054E6028043D}"/>
            </c:ext>
          </c:extLst>
        </c:ser>
        <c:ser>
          <c:idx val="5"/>
          <c:order val="5"/>
          <c:tx>
            <c:strRef>
              <c:f>'Data Repository Table'!$H$1</c:f>
              <c:strCache>
                <c:ptCount val="1"/>
                <c:pt idx="0">
                  <c:v>Horse Power</c:v>
                </c:pt>
              </c:strCache>
            </c:strRef>
          </c:tx>
          <c:spPr>
            <a:ln w="28575" cap="rnd">
              <a:solidFill>
                <a:schemeClr val="accent6"/>
              </a:solidFill>
              <a:round/>
            </a:ln>
            <a:effectLst/>
          </c:spPr>
          <c:marker>
            <c:symbol val="none"/>
          </c:marker>
          <c:val>
            <c:numRef>
              <c:f>'Data Repository Table'!$H$4908:$H$7360</c:f>
              <c:numCache>
                <c:formatCode>General</c:formatCode>
                <c:ptCount val="2453"/>
                <c:pt idx="0">
                  <c:v>0.31796270642429814</c:v>
                </c:pt>
                <c:pt idx="1">
                  <c:v>0.3080931409394389</c:v>
                </c:pt>
                <c:pt idx="2">
                  <c:v>0.30394779997784305</c:v>
                </c:pt>
                <c:pt idx="3">
                  <c:v>0.30039941777455481</c:v>
                </c:pt>
                <c:pt idx="4">
                  <c:v>0.30319226985978881</c:v>
                </c:pt>
                <c:pt idx="5">
                  <c:v>0.30335075884086438</c:v>
                </c:pt>
                <c:pt idx="6">
                  <c:v>0.29297440410215247</c:v>
                </c:pt>
                <c:pt idx="7">
                  <c:v>0.30009487296680376</c:v>
                </c:pt>
                <c:pt idx="8">
                  <c:v>0.3127332865583079</c:v>
                </c:pt>
                <c:pt idx="9">
                  <c:v>0.32216357359772907</c:v>
                </c:pt>
                <c:pt idx="10">
                  <c:v>0.32079406122435167</c:v>
                </c:pt>
                <c:pt idx="11">
                  <c:v>0.32544915874757868</c:v>
                </c:pt>
                <c:pt idx="12">
                  <c:v>0.32496087179759908</c:v>
                </c:pt>
                <c:pt idx="13">
                  <c:v>0.32976728445223785</c:v>
                </c:pt>
                <c:pt idx="14">
                  <c:v>0.32788523799342645</c:v>
                </c:pt>
                <c:pt idx="15">
                  <c:v>0.33390708018887294</c:v>
                </c:pt>
                <c:pt idx="16">
                  <c:v>0.32801909259358203</c:v>
                </c:pt>
                <c:pt idx="17">
                  <c:v>0.33091083107807817</c:v>
                </c:pt>
                <c:pt idx="18">
                  <c:v>0.33077977370530171</c:v>
                </c:pt>
                <c:pt idx="19">
                  <c:v>0.33395261047418395</c:v>
                </c:pt>
                <c:pt idx="20">
                  <c:v>0.34417022875976594</c:v>
                </c:pt>
                <c:pt idx="21">
                  <c:v>0.33692068952584631</c:v>
                </c:pt>
                <c:pt idx="22">
                  <c:v>0.32945857555839386</c:v>
                </c:pt>
                <c:pt idx="23">
                  <c:v>0.32587769335642158</c:v>
                </c:pt>
                <c:pt idx="24">
                  <c:v>0.32939727864027341</c:v>
                </c:pt>
                <c:pt idx="25">
                  <c:v>0.31000530085827926</c:v>
                </c:pt>
                <c:pt idx="26">
                  <c:v>0.30399068409288538</c:v>
                </c:pt>
                <c:pt idx="27">
                  <c:v>0.29249688468925472</c:v>
                </c:pt>
                <c:pt idx="28">
                  <c:v>0.29461601261055392</c:v>
                </c:pt>
                <c:pt idx="29">
                  <c:v>0.27532128431877351</c:v>
                </c:pt>
                <c:pt idx="30">
                  <c:v>0.27078690296762453</c:v>
                </c:pt>
                <c:pt idx="31">
                  <c:v>0.27459012667789967</c:v>
                </c:pt>
                <c:pt idx="32">
                  <c:v>0.27438391539739948</c:v>
                </c:pt>
                <c:pt idx="33">
                  <c:v>0.27563441473422468</c:v>
                </c:pt>
                <c:pt idx="34">
                  <c:v>0.27796338138027721</c:v>
                </c:pt>
                <c:pt idx="35">
                  <c:v>0.27018752148060271</c:v>
                </c:pt>
                <c:pt idx="36">
                  <c:v>0.27248885647545429</c:v>
                </c:pt>
                <c:pt idx="37">
                  <c:v>0.27094185336259941</c:v>
                </c:pt>
                <c:pt idx="38">
                  <c:v>0.2680673982077636</c:v>
                </c:pt>
                <c:pt idx="39">
                  <c:v>0.26233238260937342</c:v>
                </c:pt>
                <c:pt idx="40">
                  <c:v>0.25242865317164059</c:v>
                </c:pt>
                <c:pt idx="41">
                  <c:v>0.2435898999949444</c:v>
                </c:pt>
                <c:pt idx="42">
                  <c:v>0.24714855102996247</c:v>
                </c:pt>
                <c:pt idx="43">
                  <c:v>0.2433610779931919</c:v>
                </c:pt>
                <c:pt idx="44">
                  <c:v>0.23577214557467946</c:v>
                </c:pt>
                <c:pt idx="45">
                  <c:v>0.23061622179842153</c:v>
                </c:pt>
                <c:pt idx="46">
                  <c:v>0.21319919053976413</c:v>
                </c:pt>
                <c:pt idx="47">
                  <c:v>0.21717837923294589</c:v>
                </c:pt>
                <c:pt idx="48">
                  <c:v>0.22759372914120385</c:v>
                </c:pt>
                <c:pt idx="49">
                  <c:v>0.22747094459357242</c:v>
                </c:pt>
                <c:pt idx="50">
                  <c:v>0.24356962686735475</c:v>
                </c:pt>
                <c:pt idx="51">
                  <c:v>0.24472946806054149</c:v>
                </c:pt>
                <c:pt idx="52">
                  <c:v>0.2465961230068057</c:v>
                </c:pt>
                <c:pt idx="53">
                  <c:v>0.24893771214655594</c:v>
                </c:pt>
                <c:pt idx="54">
                  <c:v>0.27231244389371073</c:v>
                </c:pt>
                <c:pt idx="55">
                  <c:v>0.26886583451188623</c:v>
                </c:pt>
                <c:pt idx="56">
                  <c:v>0.26828910099146391</c:v>
                </c:pt>
                <c:pt idx="57">
                  <c:v>0.26936325961410335</c:v>
                </c:pt>
                <c:pt idx="58">
                  <c:v>0.27036142238876809</c:v>
                </c:pt>
                <c:pt idx="59">
                  <c:v>0.26838049634374456</c:v>
                </c:pt>
                <c:pt idx="60">
                  <c:v>0.26668291649494941</c:v>
                </c:pt>
                <c:pt idx="61">
                  <c:v>0.28028952693708964</c:v>
                </c:pt>
                <c:pt idx="62">
                  <c:v>0.27225453339293021</c:v>
                </c:pt>
                <c:pt idx="63">
                  <c:v>0.28081981930452332</c:v>
                </c:pt>
                <c:pt idx="64">
                  <c:v>0.27909797543292697</c:v>
                </c:pt>
                <c:pt idx="65">
                  <c:v>0.27948231441484084</c:v>
                </c:pt>
                <c:pt idx="66">
                  <c:v>0.28157398137948586</c:v>
                </c:pt>
                <c:pt idx="67">
                  <c:v>0.28187053240592103</c:v>
                </c:pt>
                <c:pt idx="68">
                  <c:v>0.28323729645407764</c:v>
                </c:pt>
                <c:pt idx="69">
                  <c:v>0.28575339728982124</c:v>
                </c:pt>
                <c:pt idx="70">
                  <c:v>0.28607645667939169</c:v>
                </c:pt>
                <c:pt idx="71">
                  <c:v>0.29010414591723571</c:v>
                </c:pt>
                <c:pt idx="72">
                  <c:v>0.2855355987079124</c:v>
                </c:pt>
                <c:pt idx="73">
                  <c:v>0.27236068357735177</c:v>
                </c:pt>
                <c:pt idx="74">
                  <c:v>0.27057780704119894</c:v>
                </c:pt>
                <c:pt idx="75">
                  <c:v>0.27513218166282022</c:v>
                </c:pt>
                <c:pt idx="76">
                  <c:v>0.27324769721980968</c:v>
                </c:pt>
                <c:pt idx="77">
                  <c:v>0.27075904121979505</c:v>
                </c:pt>
                <c:pt idx="78">
                  <c:v>0.26173544320636827</c:v>
                </c:pt>
                <c:pt idx="79">
                  <c:v>0.25498028647275045</c:v>
                </c:pt>
                <c:pt idx="80">
                  <c:v>0.25979868370050091</c:v>
                </c:pt>
                <c:pt idx="81">
                  <c:v>0.25150421404413609</c:v>
                </c:pt>
                <c:pt idx="82">
                  <c:v>0.24824473314005929</c:v>
                </c:pt>
                <c:pt idx="83">
                  <c:v>0.24744226890848003</c:v>
                </c:pt>
                <c:pt idx="84">
                  <c:v>0.23718187172619024</c:v>
                </c:pt>
                <c:pt idx="85">
                  <c:v>0.22546478100083608</c:v>
                </c:pt>
                <c:pt idx="86">
                  <c:v>0.2213305408061669</c:v>
                </c:pt>
                <c:pt idx="87">
                  <c:v>0.22052839920628078</c:v>
                </c:pt>
                <c:pt idx="88">
                  <c:v>0.23462811872076808</c:v>
                </c:pt>
                <c:pt idx="89">
                  <c:v>0.23682515281691568</c:v>
                </c:pt>
                <c:pt idx="90">
                  <c:v>0.23624257013549352</c:v>
                </c:pt>
                <c:pt idx="91">
                  <c:v>0.24202972788466851</c:v>
                </c:pt>
                <c:pt idx="92">
                  <c:v>0.25257723550121319</c:v>
                </c:pt>
                <c:pt idx="93">
                  <c:v>0.25179622811067015</c:v>
                </c:pt>
                <c:pt idx="94">
                  <c:v>0.25654430761499214</c:v>
                </c:pt>
                <c:pt idx="95">
                  <c:v>0.26503926150436369</c:v>
                </c:pt>
                <c:pt idx="96">
                  <c:v>0.26285213282776282</c:v>
                </c:pt>
                <c:pt idx="97">
                  <c:v>0.25603757726841253</c:v>
                </c:pt>
                <c:pt idx="98">
                  <c:v>0.25362104664391422</c:v>
                </c:pt>
                <c:pt idx="99">
                  <c:v>0.25167166366035643</c:v>
                </c:pt>
                <c:pt idx="100">
                  <c:v>0.24977272632229464</c:v>
                </c:pt>
                <c:pt idx="101">
                  <c:v>0.25036517253388479</c:v>
                </c:pt>
                <c:pt idx="102">
                  <c:v>0.25445827735061899</c:v>
                </c:pt>
                <c:pt idx="103">
                  <c:v>0.26583280283901289</c:v>
                </c:pt>
                <c:pt idx="104">
                  <c:v>0.26412803175155591</c:v>
                </c:pt>
                <c:pt idx="105">
                  <c:v>0.2666548861557862</c:v>
                </c:pt>
                <c:pt idx="106">
                  <c:v>0.26373406972035823</c:v>
                </c:pt>
                <c:pt idx="107">
                  <c:v>0.26312578385725549</c:v>
                </c:pt>
                <c:pt idx="108">
                  <c:v>0.26318725336273785</c:v>
                </c:pt>
                <c:pt idx="109">
                  <c:v>0.25931326721522358</c:v>
                </c:pt>
                <c:pt idx="110">
                  <c:v>0.25880897795779401</c:v>
                </c:pt>
                <c:pt idx="111">
                  <c:v>0.25002174993772014</c:v>
                </c:pt>
                <c:pt idx="112">
                  <c:v>0.25371666784669733</c:v>
                </c:pt>
                <c:pt idx="113">
                  <c:v>0.2609584214777525</c:v>
                </c:pt>
                <c:pt idx="114">
                  <c:v>0.25585118395123468</c:v>
                </c:pt>
                <c:pt idx="115">
                  <c:v>0.26010112223770104</c:v>
                </c:pt>
                <c:pt idx="116">
                  <c:v>0.27438339981706517</c:v>
                </c:pt>
                <c:pt idx="117">
                  <c:v>0.27442891945493769</c:v>
                </c:pt>
                <c:pt idx="118">
                  <c:v>0.27525252264585792</c:v>
                </c:pt>
                <c:pt idx="119">
                  <c:v>0.25637927294654594</c:v>
                </c:pt>
                <c:pt idx="120">
                  <c:v>0.24838860087742254</c:v>
                </c:pt>
                <c:pt idx="121">
                  <c:v>0.24194426971171848</c:v>
                </c:pt>
                <c:pt idx="122">
                  <c:v>0.24156595011705814</c:v>
                </c:pt>
                <c:pt idx="123">
                  <c:v>0.23853814874566748</c:v>
                </c:pt>
                <c:pt idx="124">
                  <c:v>0.23862028898884935</c:v>
                </c:pt>
                <c:pt idx="125">
                  <c:v>0.24101062486326594</c:v>
                </c:pt>
                <c:pt idx="126">
                  <c:v>0.23771655357326341</c:v>
                </c:pt>
                <c:pt idx="127">
                  <c:v>0.26899700735617355</c:v>
                </c:pt>
                <c:pt idx="128">
                  <c:v>0.27147727122999271</c:v>
                </c:pt>
                <c:pt idx="129">
                  <c:v>0.27289315828932026</c:v>
                </c:pt>
                <c:pt idx="130">
                  <c:v>0.28550292950028572</c:v>
                </c:pt>
                <c:pt idx="131">
                  <c:v>0.28418212025425682</c:v>
                </c:pt>
                <c:pt idx="132">
                  <c:v>0.27357545502305641</c:v>
                </c:pt>
                <c:pt idx="133">
                  <c:v>0.26656150459725769</c:v>
                </c:pt>
                <c:pt idx="134">
                  <c:v>0.25542435240079925</c:v>
                </c:pt>
                <c:pt idx="135">
                  <c:v>0.25651042078134145</c:v>
                </c:pt>
                <c:pt idx="136">
                  <c:v>0.2556657353270847</c:v>
                </c:pt>
                <c:pt idx="137">
                  <c:v>0.2717691025671044</c:v>
                </c:pt>
                <c:pt idx="138">
                  <c:v>0.28178546271810168</c:v>
                </c:pt>
                <c:pt idx="139">
                  <c:v>0.28273002419767723</c:v>
                </c:pt>
                <c:pt idx="140">
                  <c:v>0.28770906780565769</c:v>
                </c:pt>
                <c:pt idx="141">
                  <c:v>0.30222310657481455</c:v>
                </c:pt>
                <c:pt idx="142">
                  <c:v>0.31405198139678014</c:v>
                </c:pt>
                <c:pt idx="143">
                  <c:v>0.32608206979420096</c:v>
                </c:pt>
                <c:pt idx="144">
                  <c:v>0.32143507280841799</c:v>
                </c:pt>
                <c:pt idx="145">
                  <c:v>0.31666543105620759</c:v>
                </c:pt>
                <c:pt idx="146">
                  <c:v>0.31450426018898664</c:v>
                </c:pt>
                <c:pt idx="147">
                  <c:v>0.30187632936737652</c:v>
                </c:pt>
                <c:pt idx="148">
                  <c:v>0.30357279397337461</c:v>
                </c:pt>
                <c:pt idx="149">
                  <c:v>0.30611796322967166</c:v>
                </c:pt>
                <c:pt idx="150">
                  <c:v>0.30687837955161618</c:v>
                </c:pt>
                <c:pt idx="151">
                  <c:v>0.30660103195235799</c:v>
                </c:pt>
                <c:pt idx="152">
                  <c:v>0.32550247470593641</c:v>
                </c:pt>
                <c:pt idx="153">
                  <c:v>0.32581016913197436</c:v>
                </c:pt>
                <c:pt idx="154">
                  <c:v>0.31743160672165155</c:v>
                </c:pt>
                <c:pt idx="155">
                  <c:v>0.31705533824349375</c:v>
                </c:pt>
                <c:pt idx="156">
                  <c:v>0.3191750603977157</c:v>
                </c:pt>
                <c:pt idx="157">
                  <c:v>0.31878519708489744</c:v>
                </c:pt>
                <c:pt idx="158">
                  <c:v>0.29756447724001561</c:v>
                </c:pt>
                <c:pt idx="159">
                  <c:v>0.29436983689041341</c:v>
                </c:pt>
                <c:pt idx="160">
                  <c:v>0.29406731242229261</c:v>
                </c:pt>
                <c:pt idx="161">
                  <c:v>0.28339601421703409</c:v>
                </c:pt>
                <c:pt idx="162">
                  <c:v>0.28436375138827436</c:v>
                </c:pt>
                <c:pt idx="163">
                  <c:v>0.28392043791327243</c:v>
                </c:pt>
                <c:pt idx="164">
                  <c:v>0.28314946361329724</c:v>
                </c:pt>
                <c:pt idx="165">
                  <c:v>0.28649147395667085</c:v>
                </c:pt>
                <c:pt idx="166">
                  <c:v>0.28821148702430821</c:v>
                </c:pt>
                <c:pt idx="167">
                  <c:v>0.30071325024225398</c:v>
                </c:pt>
                <c:pt idx="168">
                  <c:v>0.28712086345325272</c:v>
                </c:pt>
                <c:pt idx="169">
                  <c:v>0.28381433258912497</c:v>
                </c:pt>
                <c:pt idx="170">
                  <c:v>0.28371705459925056</c:v>
                </c:pt>
                <c:pt idx="171">
                  <c:v>0.2896102352371972</c:v>
                </c:pt>
                <c:pt idx="172">
                  <c:v>0.29200490164429221</c:v>
                </c:pt>
                <c:pt idx="173">
                  <c:v>0.27900207755235362</c:v>
                </c:pt>
                <c:pt idx="174">
                  <c:v>0.2661976426442042</c:v>
                </c:pt>
                <c:pt idx="175">
                  <c:v>0.26135705103779616</c:v>
                </c:pt>
                <c:pt idx="176">
                  <c:v>0.26843721068994852</c:v>
                </c:pt>
                <c:pt idx="177">
                  <c:v>0.26751457851219806</c:v>
                </c:pt>
                <c:pt idx="178">
                  <c:v>0.27252480456375761</c:v>
                </c:pt>
                <c:pt idx="179">
                  <c:v>0.27526931418693862</c:v>
                </c:pt>
                <c:pt idx="180">
                  <c:v>0.2705314368182074</c:v>
                </c:pt>
                <c:pt idx="181">
                  <c:v>0.26873949826173393</c:v>
                </c:pt>
                <c:pt idx="182">
                  <c:v>0.28847801112710231</c:v>
                </c:pt>
                <c:pt idx="183">
                  <c:v>0.2706850217448018</c:v>
                </c:pt>
                <c:pt idx="184">
                  <c:v>0.28389910382885175</c:v>
                </c:pt>
                <c:pt idx="185">
                  <c:v>0.28383422093369115</c:v>
                </c:pt>
                <c:pt idx="186">
                  <c:v>0.28407046869246511</c:v>
                </c:pt>
                <c:pt idx="187">
                  <c:v>0.27549448341581217</c:v>
                </c:pt>
                <c:pt idx="188">
                  <c:v>0.27511177007917226</c:v>
                </c:pt>
                <c:pt idx="189">
                  <c:v>0.27375952083857541</c:v>
                </c:pt>
                <c:pt idx="190">
                  <c:v>0.28760177692061872</c:v>
                </c:pt>
                <c:pt idx="191">
                  <c:v>0.28724948634732006</c:v>
                </c:pt>
                <c:pt idx="192">
                  <c:v>0.28959107202711298</c:v>
                </c:pt>
                <c:pt idx="193">
                  <c:v>0.30502931754547713</c:v>
                </c:pt>
                <c:pt idx="194">
                  <c:v>0.30391980740198804</c:v>
                </c:pt>
                <c:pt idx="195">
                  <c:v>0.30517944904433686</c:v>
                </c:pt>
                <c:pt idx="196">
                  <c:v>0.3043721671421587</c:v>
                </c:pt>
                <c:pt idx="197">
                  <c:v>0.32217581921288557</c:v>
                </c:pt>
                <c:pt idx="198">
                  <c:v>0.32410115078796209</c:v>
                </c:pt>
                <c:pt idx="199">
                  <c:v>0.33029170516199069</c:v>
                </c:pt>
                <c:pt idx="200">
                  <c:v>0.33414144794449069</c:v>
                </c:pt>
                <c:pt idx="201">
                  <c:v>0.34198505345943414</c:v>
                </c:pt>
                <c:pt idx="202">
                  <c:v>0.33838369706581489</c:v>
                </c:pt>
                <c:pt idx="203">
                  <c:v>0.3311505350150461</c:v>
                </c:pt>
                <c:pt idx="204">
                  <c:v>0.33036522244513461</c:v>
                </c:pt>
                <c:pt idx="205">
                  <c:v>0.32132364997884483</c:v>
                </c:pt>
                <c:pt idx="206">
                  <c:v>0.3214421663976072</c:v>
                </c:pt>
                <c:pt idx="207">
                  <c:v>0.31845637457647386</c:v>
                </c:pt>
                <c:pt idx="208">
                  <c:v>0.32139874524053619</c:v>
                </c:pt>
                <c:pt idx="209">
                  <c:v>0.31216562110303103</c:v>
                </c:pt>
                <c:pt idx="210">
                  <c:v>0.31943724675136254</c:v>
                </c:pt>
                <c:pt idx="211">
                  <c:v>0.31949390959273671</c:v>
                </c:pt>
                <c:pt idx="212">
                  <c:v>0.33695622498222449</c:v>
                </c:pt>
                <c:pt idx="213">
                  <c:v>0.35315230470195802</c:v>
                </c:pt>
                <c:pt idx="214">
                  <c:v>0.39191403578726131</c:v>
                </c:pt>
                <c:pt idx="215">
                  <c:v>0.41272426489779379</c:v>
                </c:pt>
                <c:pt idx="216">
                  <c:v>0.45651109333760398</c:v>
                </c:pt>
                <c:pt idx="217">
                  <c:v>0.48854469471618422</c:v>
                </c:pt>
                <c:pt idx="218">
                  <c:v>0.52690191678314613</c:v>
                </c:pt>
                <c:pt idx="219">
                  <c:v>0.5447867665023185</c:v>
                </c:pt>
                <c:pt idx="220">
                  <c:v>0.55681289506560061</c:v>
                </c:pt>
                <c:pt idx="221">
                  <c:v>0.56833814233775115</c:v>
                </c:pt>
                <c:pt idx="222">
                  <c:v>0.56885839944329686</c:v>
                </c:pt>
                <c:pt idx="223">
                  <c:v>0.57711180534196427</c:v>
                </c:pt>
                <c:pt idx="224">
                  <c:v>0.5558598938604471</c:v>
                </c:pt>
                <c:pt idx="225">
                  <c:v>0.56376480438166121</c:v>
                </c:pt>
                <c:pt idx="226">
                  <c:v>0.55931960567784467</c:v>
                </c:pt>
                <c:pt idx="227">
                  <c:v>0.55544546134659245</c:v>
                </c:pt>
                <c:pt idx="228">
                  <c:v>0.5228828357417481</c:v>
                </c:pt>
                <c:pt idx="229">
                  <c:v>0.52605747687420479</c:v>
                </c:pt>
                <c:pt idx="230">
                  <c:v>0.49721313360369207</c:v>
                </c:pt>
                <c:pt idx="231">
                  <c:v>0.50251419851901269</c:v>
                </c:pt>
                <c:pt idx="232">
                  <c:v>0.50044648246230372</c:v>
                </c:pt>
                <c:pt idx="233">
                  <c:v>0.50086775876355705</c:v>
                </c:pt>
                <c:pt idx="234">
                  <c:v>0.49371488995789403</c:v>
                </c:pt>
                <c:pt idx="235">
                  <c:v>0.47078050850954772</c:v>
                </c:pt>
                <c:pt idx="236">
                  <c:v>0.43743926222397389</c:v>
                </c:pt>
                <c:pt idx="237">
                  <c:v>0.427032926015879</c:v>
                </c:pt>
                <c:pt idx="238">
                  <c:v>0.40782828837477225</c:v>
                </c:pt>
                <c:pt idx="239">
                  <c:v>0.3920641715922164</c:v>
                </c:pt>
                <c:pt idx="240">
                  <c:v>0.35556852286790713</c:v>
                </c:pt>
                <c:pt idx="241">
                  <c:v>0.25410520007633908</c:v>
                </c:pt>
                <c:pt idx="242">
                  <c:v>0.18355387355408961</c:v>
                </c:pt>
                <c:pt idx="243">
                  <c:v>0.17108425540041058</c:v>
                </c:pt>
                <c:pt idx="244">
                  <c:v>0.16676551840831164</c:v>
                </c:pt>
                <c:pt idx="245">
                  <c:v>0.17354520326558001</c:v>
                </c:pt>
                <c:pt idx="246">
                  <c:v>0.18307719065644187</c:v>
                </c:pt>
                <c:pt idx="247">
                  <c:v>0.18066731744691394</c:v>
                </c:pt>
                <c:pt idx="248">
                  <c:v>0.1794726361168896</c:v>
                </c:pt>
                <c:pt idx="249">
                  <c:v>0.16944795531334025</c:v>
                </c:pt>
                <c:pt idx="250">
                  <c:v>0.16947185172013499</c:v>
                </c:pt>
                <c:pt idx="251">
                  <c:v>0.17018771624474482</c:v>
                </c:pt>
                <c:pt idx="252">
                  <c:v>0.17527416623085867</c:v>
                </c:pt>
                <c:pt idx="253">
                  <c:v>0.17385077450898659</c:v>
                </c:pt>
                <c:pt idx="254">
                  <c:v>0.16991260245990442</c:v>
                </c:pt>
                <c:pt idx="255">
                  <c:v>0.16950465272368181</c:v>
                </c:pt>
                <c:pt idx="256">
                  <c:v>0.1683097322738977</c:v>
                </c:pt>
                <c:pt idx="257">
                  <c:v>0.23884140184175975</c:v>
                </c:pt>
                <c:pt idx="258">
                  <c:v>0.28955635496365895</c:v>
                </c:pt>
                <c:pt idx="259">
                  <c:v>0.33568512579873044</c:v>
                </c:pt>
                <c:pt idx="260">
                  <c:v>0.34901174628190029</c:v>
                </c:pt>
                <c:pt idx="261">
                  <c:v>0.3846955087822117</c:v>
                </c:pt>
                <c:pt idx="262">
                  <c:v>0.39906213468617824</c:v>
                </c:pt>
                <c:pt idx="263">
                  <c:v>0.41799810095111795</c:v>
                </c:pt>
                <c:pt idx="264">
                  <c:v>0.43831332338278584</c:v>
                </c:pt>
                <c:pt idx="265">
                  <c:v>0.43810042751013389</c:v>
                </c:pt>
                <c:pt idx="266">
                  <c:v>0.43941036428744829</c:v>
                </c:pt>
                <c:pt idx="267">
                  <c:v>0.45463529991211959</c:v>
                </c:pt>
                <c:pt idx="268">
                  <c:v>0.45927121818583472</c:v>
                </c:pt>
                <c:pt idx="269">
                  <c:v>0.46037076555430684</c:v>
                </c:pt>
                <c:pt idx="270">
                  <c:v>0.47684922200340529</c:v>
                </c:pt>
                <c:pt idx="271">
                  <c:v>0.47236690964632155</c:v>
                </c:pt>
                <c:pt idx="272">
                  <c:v>0.48640607735750191</c:v>
                </c:pt>
                <c:pt idx="273">
                  <c:v>0.46625717871979233</c:v>
                </c:pt>
                <c:pt idx="274">
                  <c:v>0.44816064838837427</c:v>
                </c:pt>
                <c:pt idx="275">
                  <c:v>0.42938660135055179</c:v>
                </c:pt>
                <c:pt idx="276">
                  <c:v>0.42643535293407087</c:v>
                </c:pt>
                <c:pt idx="277">
                  <c:v>0.4226375966669117</c:v>
                </c:pt>
                <c:pt idx="278">
                  <c:v>0.41476615924503468</c:v>
                </c:pt>
                <c:pt idx="279">
                  <c:v>0.38974583498863308</c:v>
                </c:pt>
                <c:pt idx="280">
                  <c:v>0.37761513822545034</c:v>
                </c:pt>
                <c:pt idx="281">
                  <c:v>0.3764814999762045</c:v>
                </c:pt>
                <c:pt idx="282">
                  <c:v>0.36291434838865499</c:v>
                </c:pt>
                <c:pt idx="283">
                  <c:v>0.35163435709727853</c:v>
                </c:pt>
                <c:pt idx="284">
                  <c:v>0.31743321166131239</c:v>
                </c:pt>
                <c:pt idx="285">
                  <c:v>0.29622034029743721</c:v>
                </c:pt>
                <c:pt idx="286">
                  <c:v>0.2855925066730039</c:v>
                </c:pt>
                <c:pt idx="287">
                  <c:v>0.26169160787111911</c:v>
                </c:pt>
                <c:pt idx="288">
                  <c:v>0.26084821573877237</c:v>
                </c:pt>
                <c:pt idx="289">
                  <c:v>0.25991488171767219</c:v>
                </c:pt>
                <c:pt idx="290">
                  <c:v>0.25682399496862529</c:v>
                </c:pt>
                <c:pt idx="291">
                  <c:v>0.26265594790920149</c:v>
                </c:pt>
                <c:pt idx="292">
                  <c:v>0.26009353297310617</c:v>
                </c:pt>
                <c:pt idx="293">
                  <c:v>0.26002893949873929</c:v>
                </c:pt>
                <c:pt idx="294">
                  <c:v>0.2667650185573589</c:v>
                </c:pt>
                <c:pt idx="295">
                  <c:v>0.27616457545892081</c:v>
                </c:pt>
                <c:pt idx="296">
                  <c:v>0.27189881313485631</c:v>
                </c:pt>
                <c:pt idx="297">
                  <c:v>0.27049642645057748</c:v>
                </c:pt>
                <c:pt idx="298">
                  <c:v>0.27147579982557868</c:v>
                </c:pt>
                <c:pt idx="299">
                  <c:v>0.28504251008434178</c:v>
                </c:pt>
                <c:pt idx="300">
                  <c:v>0.29659353605822364</c:v>
                </c:pt>
                <c:pt idx="301">
                  <c:v>0.30935235923214771</c:v>
                </c:pt>
                <c:pt idx="302">
                  <c:v>0.31444016933763436</c:v>
                </c:pt>
                <c:pt idx="303">
                  <c:v>0.31269628502876207</c:v>
                </c:pt>
                <c:pt idx="304">
                  <c:v>0.31269624937454099</c:v>
                </c:pt>
                <c:pt idx="305">
                  <c:v>0.32137017287919323</c:v>
                </c:pt>
                <c:pt idx="306">
                  <c:v>0.3278685950947699</c:v>
                </c:pt>
                <c:pt idx="307">
                  <c:v>0.32841024339255132</c:v>
                </c:pt>
                <c:pt idx="308">
                  <c:v>0.3364974733024324</c:v>
                </c:pt>
                <c:pt idx="309">
                  <c:v>0.33647892193579504</c:v>
                </c:pt>
                <c:pt idx="310">
                  <c:v>0.33609699610724358</c:v>
                </c:pt>
                <c:pt idx="311">
                  <c:v>0.32999760502377312</c:v>
                </c:pt>
                <c:pt idx="312">
                  <c:v>0.32591300018668301</c:v>
                </c:pt>
                <c:pt idx="313">
                  <c:v>0.3387623857120225</c:v>
                </c:pt>
                <c:pt idx="314">
                  <c:v>0.33430175917199079</c:v>
                </c:pt>
                <c:pt idx="315">
                  <c:v>0.356189244667171</c:v>
                </c:pt>
                <c:pt idx="316">
                  <c:v>0.34013519898170202</c:v>
                </c:pt>
                <c:pt idx="317">
                  <c:v>0.33235176073324568</c:v>
                </c:pt>
                <c:pt idx="318">
                  <c:v>0.31368970095745208</c:v>
                </c:pt>
                <c:pt idx="319">
                  <c:v>0.31322774820927546</c:v>
                </c:pt>
                <c:pt idx="320">
                  <c:v>0.31326762283788412</c:v>
                </c:pt>
                <c:pt idx="321">
                  <c:v>0.3257605175728952</c:v>
                </c:pt>
                <c:pt idx="322">
                  <c:v>0.32261319069947891</c:v>
                </c:pt>
                <c:pt idx="323">
                  <c:v>0.3353481415043047</c:v>
                </c:pt>
                <c:pt idx="324">
                  <c:v>0.33654201409382889</c:v>
                </c:pt>
                <c:pt idx="325">
                  <c:v>0.33224087329702068</c:v>
                </c:pt>
                <c:pt idx="326">
                  <c:v>0.32852106739874576</c:v>
                </c:pt>
                <c:pt idx="327">
                  <c:v>0.32598783991433833</c:v>
                </c:pt>
                <c:pt idx="328">
                  <c:v>0.32583304597355273</c:v>
                </c:pt>
                <c:pt idx="329">
                  <c:v>0.3412036263312887</c:v>
                </c:pt>
                <c:pt idx="330">
                  <c:v>0.32792939770456053</c:v>
                </c:pt>
                <c:pt idx="331">
                  <c:v>0.31384210519707756</c:v>
                </c:pt>
                <c:pt idx="332">
                  <c:v>0.30438502811206108</c:v>
                </c:pt>
                <c:pt idx="333">
                  <c:v>0.30892645071731822</c:v>
                </c:pt>
                <c:pt idx="334">
                  <c:v>0.30719530925110772</c:v>
                </c:pt>
                <c:pt idx="335">
                  <c:v>0.30757322167684281</c:v>
                </c:pt>
                <c:pt idx="336">
                  <c:v>0.31098813147281062</c:v>
                </c:pt>
                <c:pt idx="337">
                  <c:v>0.30404816792031991</c:v>
                </c:pt>
                <c:pt idx="338">
                  <c:v>0.30472971724820774</c:v>
                </c:pt>
                <c:pt idx="339">
                  <c:v>0.30663418040024776</c:v>
                </c:pt>
                <c:pt idx="340">
                  <c:v>0.31077485580302855</c:v>
                </c:pt>
                <c:pt idx="341">
                  <c:v>0.31546494497321748</c:v>
                </c:pt>
                <c:pt idx="342">
                  <c:v>0.32125505229975315</c:v>
                </c:pt>
                <c:pt idx="343">
                  <c:v>0.32395171429192349</c:v>
                </c:pt>
                <c:pt idx="344">
                  <c:v>0.30582854928709835</c:v>
                </c:pt>
                <c:pt idx="345">
                  <c:v>0.30922725301101006</c:v>
                </c:pt>
                <c:pt idx="346">
                  <c:v>0.28804057740073441</c:v>
                </c:pt>
                <c:pt idx="347">
                  <c:v>0.31481146734035304</c:v>
                </c:pt>
                <c:pt idx="348">
                  <c:v>0.32231396093412595</c:v>
                </c:pt>
                <c:pt idx="349">
                  <c:v>0.32757142061723282</c:v>
                </c:pt>
                <c:pt idx="350">
                  <c:v>0.34615245805149664</c:v>
                </c:pt>
                <c:pt idx="351">
                  <c:v>0.35015118390972511</c:v>
                </c:pt>
                <c:pt idx="352">
                  <c:v>0.33541056539972819</c:v>
                </c:pt>
                <c:pt idx="353">
                  <c:v>0.33630015790033835</c:v>
                </c:pt>
                <c:pt idx="354">
                  <c:v>0.33664837710727263</c:v>
                </c:pt>
                <c:pt idx="355">
                  <c:v>0.33501994480317554</c:v>
                </c:pt>
                <c:pt idx="356">
                  <c:v>0.33076491923554352</c:v>
                </c:pt>
                <c:pt idx="357">
                  <c:v>0.33995990134253984</c:v>
                </c:pt>
                <c:pt idx="358">
                  <c:v>0.35232338129281099</c:v>
                </c:pt>
                <c:pt idx="359">
                  <c:v>0.35654804882231506</c:v>
                </c:pt>
                <c:pt idx="360">
                  <c:v>0.3415827907734143</c:v>
                </c:pt>
                <c:pt idx="361">
                  <c:v>0.33885338555110106</c:v>
                </c:pt>
                <c:pt idx="362">
                  <c:v>0.35434787131629458</c:v>
                </c:pt>
                <c:pt idx="363">
                  <c:v>0.354663586230543</c:v>
                </c:pt>
                <c:pt idx="364">
                  <c:v>0.35768409907798426</c:v>
                </c:pt>
                <c:pt idx="365">
                  <c:v>0.357140227593429</c:v>
                </c:pt>
                <c:pt idx="366">
                  <c:v>0.35648081443316915</c:v>
                </c:pt>
                <c:pt idx="367">
                  <c:v>0.35799099920862376</c:v>
                </c:pt>
                <c:pt idx="368">
                  <c:v>0.36331063490828241</c:v>
                </c:pt>
                <c:pt idx="369">
                  <c:v>0.39055820522269774</c:v>
                </c:pt>
                <c:pt idx="370">
                  <c:v>0.37884131867820681</c:v>
                </c:pt>
                <c:pt idx="371">
                  <c:v>0.37435704769746719</c:v>
                </c:pt>
                <c:pt idx="372">
                  <c:v>0.37127232690904538</c:v>
                </c:pt>
                <c:pt idx="373">
                  <c:v>0.36454354354740276</c:v>
                </c:pt>
                <c:pt idx="374">
                  <c:v>0.3884204733031994</c:v>
                </c:pt>
                <c:pt idx="375">
                  <c:v>0.38769186037655229</c:v>
                </c:pt>
                <c:pt idx="376">
                  <c:v>0.39172080363491224</c:v>
                </c:pt>
                <c:pt idx="377">
                  <c:v>0.39191449940030726</c:v>
                </c:pt>
                <c:pt idx="378">
                  <c:v>0.37532792322724212</c:v>
                </c:pt>
                <c:pt idx="379">
                  <c:v>0.36788296546059673</c:v>
                </c:pt>
                <c:pt idx="380">
                  <c:v>0.36474075938873934</c:v>
                </c:pt>
                <c:pt idx="381">
                  <c:v>0.3527182352239826</c:v>
                </c:pt>
                <c:pt idx="382">
                  <c:v>0.3476087118175944</c:v>
                </c:pt>
                <c:pt idx="383">
                  <c:v>0.35220349386404137</c:v>
                </c:pt>
                <c:pt idx="384">
                  <c:v>0.37617192354271994</c:v>
                </c:pt>
                <c:pt idx="385">
                  <c:v>0.36779665155234514</c:v>
                </c:pt>
                <c:pt idx="386">
                  <c:v>0.3691333142378756</c:v>
                </c:pt>
                <c:pt idx="387">
                  <c:v>0.36752507823031871</c:v>
                </c:pt>
                <c:pt idx="388">
                  <c:v>0.3597949064033194</c:v>
                </c:pt>
                <c:pt idx="389">
                  <c:v>0.35200105705906165</c:v>
                </c:pt>
                <c:pt idx="390">
                  <c:v>0.35897429070517384</c:v>
                </c:pt>
                <c:pt idx="391">
                  <c:v>0.35860723082386614</c:v>
                </c:pt>
                <c:pt idx="392">
                  <c:v>0.35898574758257468</c:v>
                </c:pt>
                <c:pt idx="393">
                  <c:v>0.34015784494087925</c:v>
                </c:pt>
                <c:pt idx="394">
                  <c:v>0.34068361825918164</c:v>
                </c:pt>
                <c:pt idx="395">
                  <c:v>0.32265699379035007</c:v>
                </c:pt>
                <c:pt idx="396">
                  <c:v>0.32804486357081264</c:v>
                </c:pt>
                <c:pt idx="397">
                  <c:v>0.32814678300571309</c:v>
                </c:pt>
                <c:pt idx="398">
                  <c:v>0.32533354352314231</c:v>
                </c:pt>
                <c:pt idx="399">
                  <c:v>0.34214274541323919</c:v>
                </c:pt>
                <c:pt idx="400">
                  <c:v>0.31637795958221243</c:v>
                </c:pt>
                <c:pt idx="401">
                  <c:v>0.32109277329546665</c:v>
                </c:pt>
                <c:pt idx="402">
                  <c:v>0.3200930130890845</c:v>
                </c:pt>
                <c:pt idx="403">
                  <c:v>0.31817814987732568</c:v>
                </c:pt>
                <c:pt idx="404">
                  <c:v>0.31730826981006854</c:v>
                </c:pt>
                <c:pt idx="405">
                  <c:v>0.29433235282320902</c:v>
                </c:pt>
                <c:pt idx="406">
                  <c:v>0.30198845637402977</c:v>
                </c:pt>
                <c:pt idx="407">
                  <c:v>0.29050480796600447</c:v>
                </c:pt>
                <c:pt idx="408">
                  <c:v>0.29759965251507575</c:v>
                </c:pt>
                <c:pt idx="409">
                  <c:v>0.29468497156739198</c:v>
                </c:pt>
                <c:pt idx="410">
                  <c:v>0.2956468995959366</c:v>
                </c:pt>
                <c:pt idx="411">
                  <c:v>0.30107573643058233</c:v>
                </c:pt>
                <c:pt idx="412">
                  <c:v>0.30215102361695562</c:v>
                </c:pt>
                <c:pt idx="413">
                  <c:v>0.30491523201484755</c:v>
                </c:pt>
                <c:pt idx="414">
                  <c:v>0.31323623607722539</c:v>
                </c:pt>
                <c:pt idx="415">
                  <c:v>0.29297747304726568</c:v>
                </c:pt>
                <c:pt idx="416">
                  <c:v>0.29482873698246714</c:v>
                </c:pt>
                <c:pt idx="417">
                  <c:v>0.30956252786808547</c:v>
                </c:pt>
                <c:pt idx="418">
                  <c:v>0.30765270600281774</c:v>
                </c:pt>
                <c:pt idx="419">
                  <c:v>0.31011103940634283</c:v>
                </c:pt>
                <c:pt idx="420">
                  <c:v>0.31532111163919346</c:v>
                </c:pt>
                <c:pt idx="421">
                  <c:v>0.30625835769529614</c:v>
                </c:pt>
                <c:pt idx="422">
                  <c:v>0.31812985284953077</c:v>
                </c:pt>
                <c:pt idx="423">
                  <c:v>0.32992924302214299</c:v>
                </c:pt>
                <c:pt idx="424">
                  <c:v>0.33404109707577162</c:v>
                </c:pt>
                <c:pt idx="425">
                  <c:v>0.34222196664087889</c:v>
                </c:pt>
                <c:pt idx="426">
                  <c:v>0.33971774226220658</c:v>
                </c:pt>
                <c:pt idx="427">
                  <c:v>0.33131895013506918</c:v>
                </c:pt>
                <c:pt idx="428">
                  <c:v>0.33095137770891542</c:v>
                </c:pt>
                <c:pt idx="429">
                  <c:v>0.33022712596835024</c:v>
                </c:pt>
                <c:pt idx="430">
                  <c:v>0.31641955106589192</c:v>
                </c:pt>
                <c:pt idx="431">
                  <c:v>0.33517473804179437</c:v>
                </c:pt>
                <c:pt idx="432">
                  <c:v>0.33305889994725957</c:v>
                </c:pt>
                <c:pt idx="433">
                  <c:v>0.34204712166818507</c:v>
                </c:pt>
                <c:pt idx="434">
                  <c:v>0.35538473412061478</c:v>
                </c:pt>
                <c:pt idx="435">
                  <c:v>0.35265624435975867</c:v>
                </c:pt>
                <c:pt idx="436">
                  <c:v>0.35910956547056899</c:v>
                </c:pt>
                <c:pt idx="437">
                  <c:v>0.35125477573888381</c:v>
                </c:pt>
                <c:pt idx="438">
                  <c:v>0.34886642433836923</c:v>
                </c:pt>
                <c:pt idx="439">
                  <c:v>0.33557282438112951</c:v>
                </c:pt>
                <c:pt idx="440">
                  <c:v>0.337285333726491</c:v>
                </c:pt>
                <c:pt idx="441">
                  <c:v>0.33733174658419374</c:v>
                </c:pt>
                <c:pt idx="442">
                  <c:v>0.33658378096266933</c:v>
                </c:pt>
                <c:pt idx="443">
                  <c:v>0.32699178832184661</c:v>
                </c:pt>
                <c:pt idx="444">
                  <c:v>0.32939172149671658</c:v>
                </c:pt>
                <c:pt idx="445">
                  <c:v>0.31146127169291632</c:v>
                </c:pt>
                <c:pt idx="446">
                  <c:v>0.32331552131670588</c:v>
                </c:pt>
                <c:pt idx="447">
                  <c:v>0.31693093363949321</c:v>
                </c:pt>
                <c:pt idx="448">
                  <c:v>0.31952485332091962</c:v>
                </c:pt>
                <c:pt idx="449">
                  <c:v>0.31463287626329534</c:v>
                </c:pt>
                <c:pt idx="450">
                  <c:v>0.34455827832308705</c:v>
                </c:pt>
                <c:pt idx="451">
                  <c:v>0.34060695335369973</c:v>
                </c:pt>
                <c:pt idx="452">
                  <c:v>0.33155097005967382</c:v>
                </c:pt>
                <c:pt idx="453">
                  <c:v>0.33726949842701015</c:v>
                </c:pt>
                <c:pt idx="454">
                  <c:v>0.35882404737033063</c:v>
                </c:pt>
                <c:pt idx="455">
                  <c:v>0.35642510501855501</c:v>
                </c:pt>
                <c:pt idx="456">
                  <c:v>0.35520291889673511</c:v>
                </c:pt>
                <c:pt idx="457">
                  <c:v>0.35730956437082734</c:v>
                </c:pt>
                <c:pt idx="458">
                  <c:v>0.36379885941932383</c:v>
                </c:pt>
                <c:pt idx="459">
                  <c:v>0.36204746435438684</c:v>
                </c:pt>
                <c:pt idx="460">
                  <c:v>0.35623425068310316</c:v>
                </c:pt>
                <c:pt idx="461">
                  <c:v>0.35994182772563776</c:v>
                </c:pt>
                <c:pt idx="462">
                  <c:v>0.36082361446912309</c:v>
                </c:pt>
                <c:pt idx="463">
                  <c:v>0.36013450553962689</c:v>
                </c:pt>
                <c:pt idx="464">
                  <c:v>0.35202557766813469</c:v>
                </c:pt>
                <c:pt idx="465">
                  <c:v>0.33968765944679641</c:v>
                </c:pt>
                <c:pt idx="466">
                  <c:v>0.34095803240645323</c:v>
                </c:pt>
                <c:pt idx="467">
                  <c:v>0.33304278351365751</c:v>
                </c:pt>
                <c:pt idx="468">
                  <c:v>0.34420515598761608</c:v>
                </c:pt>
                <c:pt idx="469">
                  <c:v>0.35168056687039345</c:v>
                </c:pt>
                <c:pt idx="470">
                  <c:v>0.35506721533284252</c:v>
                </c:pt>
                <c:pt idx="471">
                  <c:v>0.35827915359171686</c:v>
                </c:pt>
                <c:pt idx="472">
                  <c:v>0.37690042740510638</c:v>
                </c:pt>
                <c:pt idx="473">
                  <c:v>0.39028339844509202</c:v>
                </c:pt>
                <c:pt idx="474">
                  <c:v>0.39098407645863364</c:v>
                </c:pt>
                <c:pt idx="475">
                  <c:v>0.38876849370553818</c:v>
                </c:pt>
                <c:pt idx="476">
                  <c:v>0.37927960477790901</c:v>
                </c:pt>
                <c:pt idx="477">
                  <c:v>0.37775856882217179</c:v>
                </c:pt>
                <c:pt idx="478">
                  <c:v>0.37861188995961703</c:v>
                </c:pt>
                <c:pt idx="479">
                  <c:v>0.37904369073134475</c:v>
                </c:pt>
                <c:pt idx="480">
                  <c:v>0.38027374009738307</c:v>
                </c:pt>
                <c:pt idx="481">
                  <c:v>0.35755607400383504</c:v>
                </c:pt>
                <c:pt idx="482">
                  <c:v>0.36044675647730318</c:v>
                </c:pt>
                <c:pt idx="483">
                  <c:v>0.3622660284076718</c:v>
                </c:pt>
                <c:pt idx="484">
                  <c:v>0.34678914363257529</c:v>
                </c:pt>
                <c:pt idx="485">
                  <c:v>0.33073354237750141</c:v>
                </c:pt>
                <c:pt idx="486">
                  <c:v>0.33614792870451576</c:v>
                </c:pt>
                <c:pt idx="487">
                  <c:v>0.32641397577128567</c:v>
                </c:pt>
                <c:pt idx="488">
                  <c:v>0.32318952060660944</c:v>
                </c:pt>
                <c:pt idx="489">
                  <c:v>0.321317572500597</c:v>
                </c:pt>
                <c:pt idx="490">
                  <c:v>0.32710899842218144</c:v>
                </c:pt>
                <c:pt idx="491">
                  <c:v>0.32680742846690097</c:v>
                </c:pt>
                <c:pt idx="492">
                  <c:v>0.32369291556580476</c:v>
                </c:pt>
                <c:pt idx="493">
                  <c:v>0.2993548373524208</c:v>
                </c:pt>
                <c:pt idx="494">
                  <c:v>0.30721687370770018</c:v>
                </c:pt>
                <c:pt idx="495">
                  <c:v>0.31379732654919634</c:v>
                </c:pt>
                <c:pt idx="496">
                  <c:v>0.31597719247880002</c:v>
                </c:pt>
                <c:pt idx="497">
                  <c:v>0.31187293360975393</c:v>
                </c:pt>
                <c:pt idx="498">
                  <c:v>0.31385497643826238</c:v>
                </c:pt>
                <c:pt idx="499">
                  <c:v>0.30218656040139946</c:v>
                </c:pt>
                <c:pt idx="500">
                  <c:v>0.29812584647117446</c:v>
                </c:pt>
                <c:pt idx="501">
                  <c:v>0.30900578476708268</c:v>
                </c:pt>
                <c:pt idx="502">
                  <c:v>0.29888465488382121</c:v>
                </c:pt>
                <c:pt idx="503">
                  <c:v>0.28613993403743693</c:v>
                </c:pt>
                <c:pt idx="504">
                  <c:v>0.28644323869815447</c:v>
                </c:pt>
                <c:pt idx="505">
                  <c:v>0.29491047991150487</c:v>
                </c:pt>
                <c:pt idx="506">
                  <c:v>0.29243914363542578</c:v>
                </c:pt>
                <c:pt idx="507">
                  <c:v>0.28856994715824058</c:v>
                </c:pt>
                <c:pt idx="508">
                  <c:v>0.28641189334680861</c:v>
                </c:pt>
                <c:pt idx="509">
                  <c:v>0.29639355992931316</c:v>
                </c:pt>
                <c:pt idx="510">
                  <c:v>0.29219525779723171</c:v>
                </c:pt>
                <c:pt idx="511">
                  <c:v>0.29700284063995097</c:v>
                </c:pt>
                <c:pt idx="512">
                  <c:v>0.29343716396898345</c:v>
                </c:pt>
                <c:pt idx="513">
                  <c:v>0.29997765224420719</c:v>
                </c:pt>
                <c:pt idx="514">
                  <c:v>0.30336232670712548</c:v>
                </c:pt>
                <c:pt idx="515">
                  <c:v>0.30132570487423138</c:v>
                </c:pt>
                <c:pt idx="516">
                  <c:v>0.30660117880301185</c:v>
                </c:pt>
                <c:pt idx="517">
                  <c:v>0.32261575645683216</c:v>
                </c:pt>
                <c:pt idx="518">
                  <c:v>0.33054771355332291</c:v>
                </c:pt>
                <c:pt idx="519">
                  <c:v>0.33864950494798729</c:v>
                </c:pt>
                <c:pt idx="520">
                  <c:v>0.33323525706158624</c:v>
                </c:pt>
                <c:pt idx="521">
                  <c:v>0.34268337430950763</c:v>
                </c:pt>
                <c:pt idx="522">
                  <c:v>0.35036759122263589</c:v>
                </c:pt>
                <c:pt idx="523">
                  <c:v>0.36021979780302049</c:v>
                </c:pt>
                <c:pt idx="524">
                  <c:v>0.3596271666533713</c:v>
                </c:pt>
                <c:pt idx="525">
                  <c:v>0.35166250053601328</c:v>
                </c:pt>
                <c:pt idx="526">
                  <c:v>0.34686146898214809</c:v>
                </c:pt>
                <c:pt idx="527">
                  <c:v>0.34545626163789489</c:v>
                </c:pt>
                <c:pt idx="528">
                  <c:v>0.34977805481602353</c:v>
                </c:pt>
                <c:pt idx="529">
                  <c:v>0.34904850655840269</c:v>
                </c:pt>
                <c:pt idx="530">
                  <c:v>0.34189554857634258</c:v>
                </c:pt>
                <c:pt idx="531">
                  <c:v>0.33268638354415642</c:v>
                </c:pt>
                <c:pt idx="532">
                  <c:v>0.32417337066310797</c:v>
                </c:pt>
                <c:pt idx="533">
                  <c:v>0.33325567073675999</c:v>
                </c:pt>
                <c:pt idx="534">
                  <c:v>0.33281275095694829</c:v>
                </c:pt>
                <c:pt idx="535">
                  <c:v>0.3188924718318244</c:v>
                </c:pt>
                <c:pt idx="536">
                  <c:v>0.32039066467131544</c:v>
                </c:pt>
                <c:pt idx="537">
                  <c:v>0.32085446781971877</c:v>
                </c:pt>
                <c:pt idx="538">
                  <c:v>0.31726275830698503</c:v>
                </c:pt>
                <c:pt idx="539">
                  <c:v>0.33609902596001529</c:v>
                </c:pt>
                <c:pt idx="540">
                  <c:v>0.32771443210568207</c:v>
                </c:pt>
                <c:pt idx="541">
                  <c:v>0.32590439033682284</c:v>
                </c:pt>
                <c:pt idx="542">
                  <c:v>0.32147484288687794</c:v>
                </c:pt>
                <c:pt idx="543">
                  <c:v>0.32316942739714138</c:v>
                </c:pt>
                <c:pt idx="544">
                  <c:v>0.31054603373636491</c:v>
                </c:pt>
                <c:pt idx="545">
                  <c:v>0.30263031409869223</c:v>
                </c:pt>
                <c:pt idx="546">
                  <c:v>0.30420065715792449</c:v>
                </c:pt>
                <c:pt idx="547">
                  <c:v>0.31383560472591404</c:v>
                </c:pt>
                <c:pt idx="548">
                  <c:v>0.30555348406143784</c:v>
                </c:pt>
                <c:pt idx="549">
                  <c:v>0.29933819085748703</c:v>
                </c:pt>
                <c:pt idx="550">
                  <c:v>0.30012379639863301</c:v>
                </c:pt>
                <c:pt idx="551">
                  <c:v>0.30648858536912765</c:v>
                </c:pt>
                <c:pt idx="552">
                  <c:v>0.2912740187937426</c:v>
                </c:pt>
                <c:pt idx="553">
                  <c:v>0.29111053505545492</c:v>
                </c:pt>
                <c:pt idx="554">
                  <c:v>0.27453412183842507</c:v>
                </c:pt>
                <c:pt idx="555">
                  <c:v>0.27374149644682894</c:v>
                </c:pt>
                <c:pt idx="556">
                  <c:v>0.28928096280490417</c:v>
                </c:pt>
                <c:pt idx="557">
                  <c:v>0.29065697670181567</c:v>
                </c:pt>
                <c:pt idx="558">
                  <c:v>0.29903426621371165</c:v>
                </c:pt>
                <c:pt idx="559">
                  <c:v>0.29781429940115356</c:v>
                </c:pt>
                <c:pt idx="560">
                  <c:v>0.29920780090064014</c:v>
                </c:pt>
                <c:pt idx="561">
                  <c:v>0.30248129345230296</c:v>
                </c:pt>
                <c:pt idx="562">
                  <c:v>0.30047381963589298</c:v>
                </c:pt>
                <c:pt idx="563">
                  <c:v>0.29305040562028034</c:v>
                </c:pt>
                <c:pt idx="564">
                  <c:v>0.28897226612810456</c:v>
                </c:pt>
                <c:pt idx="565">
                  <c:v>0.29194381593353957</c:v>
                </c:pt>
                <c:pt idx="566">
                  <c:v>0.29288026960112534</c:v>
                </c:pt>
                <c:pt idx="567">
                  <c:v>0.2788642174476712</c:v>
                </c:pt>
                <c:pt idx="568">
                  <c:v>0.27066323521647639</c:v>
                </c:pt>
                <c:pt idx="569">
                  <c:v>0.27285328442567541</c:v>
                </c:pt>
                <c:pt idx="570">
                  <c:v>0.260781990595288</c:v>
                </c:pt>
                <c:pt idx="571">
                  <c:v>0.2605667583554841</c:v>
                </c:pt>
                <c:pt idx="572">
                  <c:v>0.26331747207749306</c:v>
                </c:pt>
                <c:pt idx="573">
                  <c:v>0.26720626995536206</c:v>
                </c:pt>
                <c:pt idx="574">
                  <c:v>0.27364654915162057</c:v>
                </c:pt>
                <c:pt idx="575">
                  <c:v>0.28426328408398466</c:v>
                </c:pt>
                <c:pt idx="576">
                  <c:v>0.28198930205139011</c:v>
                </c:pt>
                <c:pt idx="577">
                  <c:v>0.28027748204220682</c:v>
                </c:pt>
                <c:pt idx="578">
                  <c:v>0.26666812232077602</c:v>
                </c:pt>
                <c:pt idx="579">
                  <c:v>0.26080777413532247</c:v>
                </c:pt>
                <c:pt idx="580">
                  <c:v>0.26102373193152589</c:v>
                </c:pt>
                <c:pt idx="581">
                  <c:v>0.26179650328331011</c:v>
                </c:pt>
                <c:pt idx="582">
                  <c:v>0.25071586419941261</c:v>
                </c:pt>
                <c:pt idx="583">
                  <c:v>0.24873827364141776</c:v>
                </c:pt>
                <c:pt idx="584">
                  <c:v>0.24770943575642959</c:v>
                </c:pt>
                <c:pt idx="585">
                  <c:v>0.24822588845329582</c:v>
                </c:pt>
                <c:pt idx="586">
                  <c:v>0.24602580136553057</c:v>
                </c:pt>
                <c:pt idx="587">
                  <c:v>0.23356452760740795</c:v>
                </c:pt>
                <c:pt idx="588">
                  <c:v>0.23833679046585432</c:v>
                </c:pt>
                <c:pt idx="589">
                  <c:v>0.23170530843272347</c:v>
                </c:pt>
                <c:pt idx="590">
                  <c:v>0.23444981049531843</c:v>
                </c:pt>
                <c:pt idx="591">
                  <c:v>0.23746355416253234</c:v>
                </c:pt>
                <c:pt idx="592">
                  <c:v>0.24973731236257193</c:v>
                </c:pt>
                <c:pt idx="593">
                  <c:v>0.2507462157999899</c:v>
                </c:pt>
                <c:pt idx="594">
                  <c:v>0.26779342991494492</c:v>
                </c:pt>
                <c:pt idx="595">
                  <c:v>0.26592489008534637</c:v>
                </c:pt>
                <c:pt idx="596">
                  <c:v>0.26271607127717039</c:v>
                </c:pt>
                <c:pt idx="597">
                  <c:v>0.2628776113004303</c:v>
                </c:pt>
                <c:pt idx="598">
                  <c:v>0.27516835321987693</c:v>
                </c:pt>
                <c:pt idx="599">
                  <c:v>0.2947018531254319</c:v>
                </c:pt>
                <c:pt idx="600">
                  <c:v>0.29257391881184236</c:v>
                </c:pt>
                <c:pt idx="601">
                  <c:v>0.31546685549843761</c:v>
                </c:pt>
                <c:pt idx="602">
                  <c:v>0.35172435211566705</c:v>
                </c:pt>
                <c:pt idx="603">
                  <c:v>0.39018076541143337</c:v>
                </c:pt>
                <c:pt idx="604">
                  <c:v>0.41716453487694211</c:v>
                </c:pt>
                <c:pt idx="605">
                  <c:v>0.42575632315200029</c:v>
                </c:pt>
                <c:pt idx="606">
                  <c:v>0.44815615787352875</c:v>
                </c:pt>
                <c:pt idx="607">
                  <c:v>0.46532894586587403</c:v>
                </c:pt>
                <c:pt idx="608">
                  <c:v>0.488964746210026</c:v>
                </c:pt>
                <c:pt idx="609">
                  <c:v>0.51074864706143519</c:v>
                </c:pt>
                <c:pt idx="610">
                  <c:v>0.52255987080510691</c:v>
                </c:pt>
                <c:pt idx="611">
                  <c:v>0.55227618865706363</c:v>
                </c:pt>
                <c:pt idx="612">
                  <c:v>0.54765734523886067</c:v>
                </c:pt>
                <c:pt idx="613">
                  <c:v>0.55123106099442987</c:v>
                </c:pt>
                <c:pt idx="614">
                  <c:v>0.55500165845870197</c:v>
                </c:pt>
                <c:pt idx="615">
                  <c:v>0.55580779378248224</c:v>
                </c:pt>
                <c:pt idx="616">
                  <c:v>0.54264632539155166</c:v>
                </c:pt>
                <c:pt idx="617">
                  <c:v>0.5334582569902705</c:v>
                </c:pt>
                <c:pt idx="618">
                  <c:v>0.52867710000371493</c:v>
                </c:pt>
                <c:pt idx="619">
                  <c:v>0.51589404666963812</c:v>
                </c:pt>
                <c:pt idx="620">
                  <c:v>0.51358643167003992</c:v>
                </c:pt>
                <c:pt idx="621">
                  <c:v>0.51393936773168403</c:v>
                </c:pt>
                <c:pt idx="622">
                  <c:v>0.48956740055648523</c:v>
                </c:pt>
                <c:pt idx="623">
                  <c:v>0.49263144104765977</c:v>
                </c:pt>
                <c:pt idx="624">
                  <c:v>0.48503324444849288</c:v>
                </c:pt>
                <c:pt idx="625">
                  <c:v>0.43869738240979389</c:v>
                </c:pt>
                <c:pt idx="626">
                  <c:v>0.41999398581155506</c:v>
                </c:pt>
                <c:pt idx="627">
                  <c:v>0.40410140778894743</c:v>
                </c:pt>
                <c:pt idx="628">
                  <c:v>0.35529263233017266</c:v>
                </c:pt>
                <c:pt idx="629">
                  <c:v>0.24716095573186778</c:v>
                </c:pt>
                <c:pt idx="630">
                  <c:v>0.23728906084291856</c:v>
                </c:pt>
                <c:pt idx="631">
                  <c:v>0.17719975609829369</c:v>
                </c:pt>
                <c:pt idx="632">
                  <c:v>0.17207950740612063</c:v>
                </c:pt>
                <c:pt idx="633">
                  <c:v>0.17479748293578712</c:v>
                </c:pt>
                <c:pt idx="634">
                  <c:v>0.17633538146667124</c:v>
                </c:pt>
                <c:pt idx="635">
                  <c:v>0.17606171075283325</c:v>
                </c:pt>
                <c:pt idx="636">
                  <c:v>0.16737997872127008</c:v>
                </c:pt>
                <c:pt idx="637">
                  <c:v>0.17388450575539088</c:v>
                </c:pt>
                <c:pt idx="638">
                  <c:v>0.17816807098615611</c:v>
                </c:pt>
                <c:pt idx="639">
                  <c:v>0.17830635538404929</c:v>
                </c:pt>
                <c:pt idx="640">
                  <c:v>0.18151655022115809</c:v>
                </c:pt>
                <c:pt idx="641">
                  <c:v>0.18139587825747619</c:v>
                </c:pt>
                <c:pt idx="642">
                  <c:v>0.1719596130290571</c:v>
                </c:pt>
                <c:pt idx="643">
                  <c:v>0.17723457501936801</c:v>
                </c:pt>
                <c:pt idx="644">
                  <c:v>0.17813682823431329</c:v>
                </c:pt>
                <c:pt idx="645">
                  <c:v>0.17476653162825537</c:v>
                </c:pt>
                <c:pt idx="646">
                  <c:v>0.18819718465200605</c:v>
                </c:pt>
                <c:pt idx="647">
                  <c:v>0.23511362506819636</c:v>
                </c:pt>
                <c:pt idx="648">
                  <c:v>0.25756804517884141</c:v>
                </c:pt>
                <c:pt idx="649">
                  <c:v>0.35494600762984407</c:v>
                </c:pt>
                <c:pt idx="650">
                  <c:v>0.40227755795399112</c:v>
                </c:pt>
                <c:pt idx="651">
                  <c:v>0.4369783215892189</c:v>
                </c:pt>
                <c:pt idx="652">
                  <c:v>0.4738996050332856</c:v>
                </c:pt>
                <c:pt idx="653">
                  <c:v>0.53384516834654816</c:v>
                </c:pt>
                <c:pt idx="654">
                  <c:v>0.53760549510541067</c:v>
                </c:pt>
                <c:pt idx="655">
                  <c:v>0.54895331712483453</c:v>
                </c:pt>
                <c:pt idx="656">
                  <c:v>0.55154691333738004</c:v>
                </c:pt>
                <c:pt idx="657">
                  <c:v>0.56209061780847069</c:v>
                </c:pt>
                <c:pt idx="658">
                  <c:v>0.54820977247225289</c:v>
                </c:pt>
                <c:pt idx="659">
                  <c:v>0.55902424042476662</c:v>
                </c:pt>
                <c:pt idx="660">
                  <c:v>0.55250727798902111</c:v>
                </c:pt>
                <c:pt idx="661">
                  <c:v>0.54446268987396063</c:v>
                </c:pt>
                <c:pt idx="662">
                  <c:v>0.53677776497155416</c:v>
                </c:pt>
                <c:pt idx="663">
                  <c:v>0.53697145865502194</c:v>
                </c:pt>
                <c:pt idx="664">
                  <c:v>0.53119911848790546</c:v>
                </c:pt>
                <c:pt idx="665">
                  <c:v>0.52348564043502721</c:v>
                </c:pt>
                <c:pt idx="666">
                  <c:v>0.51127584101007095</c:v>
                </c:pt>
                <c:pt idx="667">
                  <c:v>0.49241015290017004</c:v>
                </c:pt>
                <c:pt idx="668">
                  <c:v>0.49810996067875912</c:v>
                </c:pt>
                <c:pt idx="669">
                  <c:v>0.49367701671457948</c:v>
                </c:pt>
                <c:pt idx="670">
                  <c:v>0.47844402859143365</c:v>
                </c:pt>
                <c:pt idx="671">
                  <c:v>0.46934450901311875</c:v>
                </c:pt>
                <c:pt idx="672">
                  <c:v>0.45470359762312995</c:v>
                </c:pt>
                <c:pt idx="673">
                  <c:v>0.42051325071714968</c:v>
                </c:pt>
                <c:pt idx="674">
                  <c:v>0.37824678028225261</c:v>
                </c:pt>
                <c:pt idx="675">
                  <c:v>0.3567143692643997</c:v>
                </c:pt>
                <c:pt idx="676">
                  <c:v>0.32529533260495908</c:v>
                </c:pt>
                <c:pt idx="677">
                  <c:v>0.31845263626889658</c:v>
                </c:pt>
                <c:pt idx="678">
                  <c:v>0.32251253272174418</c:v>
                </c:pt>
                <c:pt idx="679">
                  <c:v>0.3193605464034277</c:v>
                </c:pt>
                <c:pt idx="680">
                  <c:v>0.30566376454357896</c:v>
                </c:pt>
                <c:pt idx="681">
                  <c:v>0.30735078088122669</c:v>
                </c:pt>
                <c:pt idx="682">
                  <c:v>0.30944071727688571</c:v>
                </c:pt>
                <c:pt idx="683">
                  <c:v>0.30926895785080644</c:v>
                </c:pt>
                <c:pt idx="684">
                  <c:v>0.29417079070705521</c:v>
                </c:pt>
                <c:pt idx="685">
                  <c:v>0.30864130886044744</c:v>
                </c:pt>
                <c:pt idx="686">
                  <c:v>0.31213852535894349</c:v>
                </c:pt>
                <c:pt idx="687">
                  <c:v>0.30926145735432586</c:v>
                </c:pt>
                <c:pt idx="688">
                  <c:v>0.2996024239502621</c:v>
                </c:pt>
                <c:pt idx="689">
                  <c:v>0.30030645764304764</c:v>
                </c:pt>
                <c:pt idx="690">
                  <c:v>0.29708431668441154</c:v>
                </c:pt>
                <c:pt idx="691">
                  <c:v>0.2973948840732229</c:v>
                </c:pt>
                <c:pt idx="692">
                  <c:v>0.29335189009413731</c:v>
                </c:pt>
                <c:pt idx="693">
                  <c:v>0.31848217466738926</c:v>
                </c:pt>
                <c:pt idx="694">
                  <c:v>0.31746816329177374</c:v>
                </c:pt>
                <c:pt idx="695">
                  <c:v>0.31093698941949033</c:v>
                </c:pt>
                <c:pt idx="696">
                  <c:v>0.31904968135099282</c:v>
                </c:pt>
                <c:pt idx="697">
                  <c:v>0.32657592286813469</c:v>
                </c:pt>
                <c:pt idx="698">
                  <c:v>0.31799015764687827</c:v>
                </c:pt>
                <c:pt idx="699">
                  <c:v>0.3222951670803641</c:v>
                </c:pt>
                <c:pt idx="700">
                  <c:v>0.33216337197630658</c:v>
                </c:pt>
                <c:pt idx="701">
                  <c:v>0.35230940396751254</c:v>
                </c:pt>
                <c:pt idx="702">
                  <c:v>0.34709635821412654</c:v>
                </c:pt>
                <c:pt idx="703">
                  <c:v>0.34252146390166832</c:v>
                </c:pt>
                <c:pt idx="704">
                  <c:v>0.34996631503111925</c:v>
                </c:pt>
                <c:pt idx="705">
                  <c:v>0.34294270338759691</c:v>
                </c:pt>
                <c:pt idx="706">
                  <c:v>0.33747999903587594</c:v>
                </c:pt>
                <c:pt idx="707">
                  <c:v>0.32344258392580205</c:v>
                </c:pt>
                <c:pt idx="708">
                  <c:v>0.32023366452610702</c:v>
                </c:pt>
                <c:pt idx="709">
                  <c:v>0.3209135589137489</c:v>
                </c:pt>
                <c:pt idx="710">
                  <c:v>0.32736780810961957</c:v>
                </c:pt>
                <c:pt idx="711">
                  <c:v>0.3270139980305809</c:v>
                </c:pt>
                <c:pt idx="712">
                  <c:v>0.31957418154615319</c:v>
                </c:pt>
                <c:pt idx="713">
                  <c:v>0.3187852721672359</c:v>
                </c:pt>
                <c:pt idx="714">
                  <c:v>0.30904378001432248</c:v>
                </c:pt>
                <c:pt idx="715">
                  <c:v>0.30833732460971325</c:v>
                </c:pt>
                <c:pt idx="716">
                  <c:v>0.30768888064053335</c:v>
                </c:pt>
                <c:pt idx="717">
                  <c:v>0.29962421196144101</c:v>
                </c:pt>
                <c:pt idx="718">
                  <c:v>0.30910360132941289</c:v>
                </c:pt>
                <c:pt idx="719">
                  <c:v>0.31342919020518006</c:v>
                </c:pt>
                <c:pt idx="720">
                  <c:v>0.31441975652781123</c:v>
                </c:pt>
                <c:pt idx="721">
                  <c:v>0.32051815181138366</c:v>
                </c:pt>
                <c:pt idx="722">
                  <c:v>0.31781743335485263</c:v>
                </c:pt>
                <c:pt idx="723">
                  <c:v>0.31760128776093344</c:v>
                </c:pt>
                <c:pt idx="724">
                  <c:v>0.30754704120339177</c:v>
                </c:pt>
                <c:pt idx="725">
                  <c:v>0.30675123396860138</c:v>
                </c:pt>
                <c:pt idx="726">
                  <c:v>0.31013895998212926</c:v>
                </c:pt>
                <c:pt idx="727">
                  <c:v>0.29270668979277281</c:v>
                </c:pt>
                <c:pt idx="728">
                  <c:v>0.29424540480411898</c:v>
                </c:pt>
                <c:pt idx="729">
                  <c:v>0.2896682003882311</c:v>
                </c:pt>
                <c:pt idx="730">
                  <c:v>0.26706615402692274</c:v>
                </c:pt>
                <c:pt idx="731">
                  <c:v>0.26375778626131946</c:v>
                </c:pt>
                <c:pt idx="732">
                  <c:v>0.24750665307197847</c:v>
                </c:pt>
                <c:pt idx="733">
                  <c:v>0.24419490884781941</c:v>
                </c:pt>
                <c:pt idx="734">
                  <c:v>0.24430436273065037</c:v>
                </c:pt>
                <c:pt idx="735">
                  <c:v>0.2379465935988006</c:v>
                </c:pt>
                <c:pt idx="736">
                  <c:v>0.23971014867242971</c:v>
                </c:pt>
                <c:pt idx="737">
                  <c:v>0.23983196246189559</c:v>
                </c:pt>
                <c:pt idx="738">
                  <c:v>0.27228668302790726</c:v>
                </c:pt>
                <c:pt idx="739">
                  <c:v>0.27356189030318789</c:v>
                </c:pt>
                <c:pt idx="740">
                  <c:v>0.27808571699076629</c:v>
                </c:pt>
                <c:pt idx="741">
                  <c:v>0.27402404163869903</c:v>
                </c:pt>
                <c:pt idx="742">
                  <c:v>0.27559648350445909</c:v>
                </c:pt>
                <c:pt idx="743">
                  <c:v>0.27461229794861819</c:v>
                </c:pt>
                <c:pt idx="744">
                  <c:v>0.27328911682976226</c:v>
                </c:pt>
                <c:pt idx="745">
                  <c:v>0.27606773386494055</c:v>
                </c:pt>
                <c:pt idx="746">
                  <c:v>0.29727195661560668</c:v>
                </c:pt>
                <c:pt idx="747">
                  <c:v>0.28964292124996677</c:v>
                </c:pt>
                <c:pt idx="748">
                  <c:v>0.2896116048162381</c:v>
                </c:pt>
                <c:pt idx="749">
                  <c:v>0.28505004680905321</c:v>
                </c:pt>
                <c:pt idx="750">
                  <c:v>0.27343249705411588</c:v>
                </c:pt>
                <c:pt idx="751">
                  <c:v>0.28713705000395984</c:v>
                </c:pt>
                <c:pt idx="752">
                  <c:v>0.28451171185739982</c:v>
                </c:pt>
                <c:pt idx="753">
                  <c:v>0.28861699160940291</c:v>
                </c:pt>
                <c:pt idx="754">
                  <c:v>0.29010280889766993</c:v>
                </c:pt>
                <c:pt idx="755">
                  <c:v>0.28924484812767715</c:v>
                </c:pt>
                <c:pt idx="756">
                  <c:v>0.29735092691951809</c:v>
                </c:pt>
                <c:pt idx="757">
                  <c:v>0.28754218157782313</c:v>
                </c:pt>
                <c:pt idx="758">
                  <c:v>0.27981722608747667</c:v>
                </c:pt>
                <c:pt idx="759">
                  <c:v>0.27942790003262158</c:v>
                </c:pt>
                <c:pt idx="760">
                  <c:v>0.27907556631420566</c:v>
                </c:pt>
                <c:pt idx="761">
                  <c:v>0.27959796021647548</c:v>
                </c:pt>
                <c:pt idx="762">
                  <c:v>0.28752118320398751</c:v>
                </c:pt>
                <c:pt idx="763">
                  <c:v>0.28935811037248693</c:v>
                </c:pt>
                <c:pt idx="764">
                  <c:v>0.2888556903613122</c:v>
                </c:pt>
                <c:pt idx="765">
                  <c:v>0.29050697939116538</c:v>
                </c:pt>
                <c:pt idx="766">
                  <c:v>0.29186571596209449</c:v>
                </c:pt>
                <c:pt idx="767">
                  <c:v>0.28742761623377638</c:v>
                </c:pt>
                <c:pt idx="768">
                  <c:v>0.29667453571829405</c:v>
                </c:pt>
                <c:pt idx="769">
                  <c:v>0.27555936387996677</c:v>
                </c:pt>
                <c:pt idx="770">
                  <c:v>0.283900002661644</c:v>
                </c:pt>
                <c:pt idx="771">
                  <c:v>0.26988989317688294</c:v>
                </c:pt>
                <c:pt idx="772">
                  <c:v>0.27399268402722476</c:v>
                </c:pt>
                <c:pt idx="773">
                  <c:v>0.26831801769717162</c:v>
                </c:pt>
                <c:pt idx="774">
                  <c:v>0.26853300070349401</c:v>
                </c:pt>
                <c:pt idx="775">
                  <c:v>0.26472990316428069</c:v>
                </c:pt>
                <c:pt idx="776">
                  <c:v>0.26450979630139354</c:v>
                </c:pt>
                <c:pt idx="777">
                  <c:v>0.25803148785299468</c:v>
                </c:pt>
                <c:pt idx="778">
                  <c:v>0.26153031547003852</c:v>
                </c:pt>
                <c:pt idx="779">
                  <c:v>0.25761560253892124</c:v>
                </c:pt>
                <c:pt idx="780">
                  <c:v>0.25571664215981305</c:v>
                </c:pt>
                <c:pt idx="781">
                  <c:v>0.27704130980432035</c:v>
                </c:pt>
                <c:pt idx="782">
                  <c:v>0.26971651612048714</c:v>
                </c:pt>
                <c:pt idx="783">
                  <c:v>0.27657326395894882</c:v>
                </c:pt>
                <c:pt idx="784">
                  <c:v>0.27657326395894888</c:v>
                </c:pt>
                <c:pt idx="785">
                  <c:v>0.27513907118865355</c:v>
                </c:pt>
                <c:pt idx="786">
                  <c:v>0.27419036360984744</c:v>
                </c:pt>
                <c:pt idx="787">
                  <c:v>0.29367148519238406</c:v>
                </c:pt>
                <c:pt idx="788">
                  <c:v>0.29467725820994783</c:v>
                </c:pt>
                <c:pt idx="789">
                  <c:v>0.29899046989611122</c:v>
                </c:pt>
                <c:pt idx="790">
                  <c:v>0.29807455815138367</c:v>
                </c:pt>
                <c:pt idx="791">
                  <c:v>0.29838856236231848</c:v>
                </c:pt>
                <c:pt idx="792">
                  <c:v>0.30330047757351825</c:v>
                </c:pt>
                <c:pt idx="793">
                  <c:v>0.29757649169097211</c:v>
                </c:pt>
                <c:pt idx="794">
                  <c:v>0.294843127477668</c:v>
                </c:pt>
                <c:pt idx="795">
                  <c:v>0.29484222802618792</c:v>
                </c:pt>
                <c:pt idx="796">
                  <c:v>0.29531854773583338</c:v>
                </c:pt>
                <c:pt idx="797">
                  <c:v>0.29621015330333983</c:v>
                </c:pt>
                <c:pt idx="798">
                  <c:v>0.29830587492258259</c:v>
                </c:pt>
                <c:pt idx="799">
                  <c:v>0.28782715531230263</c:v>
                </c:pt>
                <c:pt idx="800">
                  <c:v>0.28951670909567762</c:v>
                </c:pt>
                <c:pt idx="801">
                  <c:v>0.27659325833251108</c:v>
                </c:pt>
                <c:pt idx="802">
                  <c:v>0.27962397584738419</c:v>
                </c:pt>
                <c:pt idx="803">
                  <c:v>0.26960955000403636</c:v>
                </c:pt>
                <c:pt idx="804">
                  <c:v>0.29893373952779895</c:v>
                </c:pt>
                <c:pt idx="805">
                  <c:v>0.3007397057162049</c:v>
                </c:pt>
                <c:pt idx="806">
                  <c:v>0.31122364760537102</c:v>
                </c:pt>
                <c:pt idx="807">
                  <c:v>0.3180198740826839</c:v>
                </c:pt>
                <c:pt idx="808">
                  <c:v>0.30747906539849845</c:v>
                </c:pt>
                <c:pt idx="809">
                  <c:v>0.30615128774673173</c:v>
                </c:pt>
                <c:pt idx="810">
                  <c:v>0.30693915351696999</c:v>
                </c:pt>
                <c:pt idx="811">
                  <c:v>0.30569774084705148</c:v>
                </c:pt>
                <c:pt idx="812">
                  <c:v>0.28630247851579554</c:v>
                </c:pt>
                <c:pt idx="813">
                  <c:v>0.28196090383129246</c:v>
                </c:pt>
                <c:pt idx="814">
                  <c:v>0.27579469117126543</c:v>
                </c:pt>
                <c:pt idx="815">
                  <c:v>0.27368331445504479</c:v>
                </c:pt>
                <c:pt idx="816">
                  <c:v>0.27431950738258148</c:v>
                </c:pt>
                <c:pt idx="817">
                  <c:v>0.27366996732118054</c:v>
                </c:pt>
                <c:pt idx="818">
                  <c:v>0.2468153254120182</c:v>
                </c:pt>
                <c:pt idx="819">
                  <c:v>0.24538128466186609</c:v>
                </c:pt>
                <c:pt idx="820">
                  <c:v>0.26563129577033617</c:v>
                </c:pt>
                <c:pt idx="821">
                  <c:v>0.27933056355820746</c:v>
                </c:pt>
                <c:pt idx="822">
                  <c:v>0.29512399775085751</c:v>
                </c:pt>
                <c:pt idx="823">
                  <c:v>0.30657024147468287</c:v>
                </c:pt>
                <c:pt idx="824">
                  <c:v>0.31283267231634171</c:v>
                </c:pt>
                <c:pt idx="825">
                  <c:v>0.31535983033774723</c:v>
                </c:pt>
                <c:pt idx="826">
                  <c:v>0.32221772453151343</c:v>
                </c:pt>
                <c:pt idx="827">
                  <c:v>0.32029428440047525</c:v>
                </c:pt>
                <c:pt idx="828">
                  <c:v>0.31887635982150098</c:v>
                </c:pt>
                <c:pt idx="829">
                  <c:v>0.31891287912819394</c:v>
                </c:pt>
                <c:pt idx="830">
                  <c:v>0.33286603726789804</c:v>
                </c:pt>
                <c:pt idx="831">
                  <c:v>0.3304102239131777</c:v>
                </c:pt>
                <c:pt idx="832">
                  <c:v>0.34702885178970161</c:v>
                </c:pt>
                <c:pt idx="833">
                  <c:v>0.3437424047278152</c:v>
                </c:pt>
                <c:pt idx="834">
                  <c:v>0.34067749607319159</c:v>
                </c:pt>
                <c:pt idx="835">
                  <c:v>0.32672038618535204</c:v>
                </c:pt>
                <c:pt idx="836">
                  <c:v>0.32438712324220631</c:v>
                </c:pt>
                <c:pt idx="837">
                  <c:v>0.31263364476365463</c:v>
                </c:pt>
                <c:pt idx="838">
                  <c:v>0.30628595746801296</c:v>
                </c:pt>
                <c:pt idx="839">
                  <c:v>0.30631724242524594</c:v>
                </c:pt>
                <c:pt idx="840">
                  <c:v>0.30480919234824422</c:v>
                </c:pt>
                <c:pt idx="841">
                  <c:v>0.31345487690111629</c:v>
                </c:pt>
                <c:pt idx="842">
                  <c:v>0.31760341655264845</c:v>
                </c:pt>
                <c:pt idx="843">
                  <c:v>0.31501891504362417</c:v>
                </c:pt>
                <c:pt idx="844">
                  <c:v>0.31746901447961057</c:v>
                </c:pt>
                <c:pt idx="845">
                  <c:v>0.32419004033066356</c:v>
                </c:pt>
                <c:pt idx="846">
                  <c:v>0.33669759880374145</c:v>
                </c:pt>
                <c:pt idx="847">
                  <c:v>0.33492435210513494</c:v>
                </c:pt>
                <c:pt idx="848">
                  <c:v>0.33888679262742283</c:v>
                </c:pt>
                <c:pt idx="849">
                  <c:v>0.33888615765851826</c:v>
                </c:pt>
                <c:pt idx="850">
                  <c:v>0.34029491352316987</c:v>
                </c:pt>
                <c:pt idx="851">
                  <c:v>0.31828444377675041</c:v>
                </c:pt>
                <c:pt idx="852">
                  <c:v>0.30863272493860233</c:v>
                </c:pt>
                <c:pt idx="853">
                  <c:v>0.29506710834211131</c:v>
                </c:pt>
                <c:pt idx="854">
                  <c:v>0.28251420376512199</c:v>
                </c:pt>
                <c:pt idx="855">
                  <c:v>0.29257968921133631</c:v>
                </c:pt>
                <c:pt idx="856">
                  <c:v>0.29278155824457242</c:v>
                </c:pt>
                <c:pt idx="857">
                  <c:v>0.28724693256573752</c:v>
                </c:pt>
                <c:pt idx="858">
                  <c:v>0.29983238738762319</c:v>
                </c:pt>
                <c:pt idx="859">
                  <c:v>0.29917702102928179</c:v>
                </c:pt>
                <c:pt idx="860">
                  <c:v>0.29750357286572515</c:v>
                </c:pt>
                <c:pt idx="861">
                  <c:v>0.28223936427660873</c:v>
                </c:pt>
                <c:pt idx="862">
                  <c:v>0.28244398086397343</c:v>
                </c:pt>
                <c:pt idx="863">
                  <c:v>0.27560485435617121</c:v>
                </c:pt>
                <c:pt idx="864">
                  <c:v>0.27726112295658917</c:v>
                </c:pt>
                <c:pt idx="865">
                  <c:v>0.28109492288309768</c:v>
                </c:pt>
                <c:pt idx="866">
                  <c:v>0.27150823004444591</c:v>
                </c:pt>
                <c:pt idx="867">
                  <c:v>0.28739735973125535</c:v>
                </c:pt>
                <c:pt idx="868">
                  <c:v>0.28744346328401604</c:v>
                </c:pt>
                <c:pt idx="869">
                  <c:v>0.28641396037782874</c:v>
                </c:pt>
                <c:pt idx="870">
                  <c:v>0.28641344181808037</c:v>
                </c:pt>
                <c:pt idx="871">
                  <c:v>0.31674540596107831</c:v>
                </c:pt>
                <c:pt idx="872">
                  <c:v>0.31729332634058055</c:v>
                </c:pt>
                <c:pt idx="873">
                  <c:v>0.31626937675892364</c:v>
                </c:pt>
                <c:pt idx="874">
                  <c:v>0.31518763903737917</c:v>
                </c:pt>
                <c:pt idx="875">
                  <c:v>0.32041531722649597</c:v>
                </c:pt>
                <c:pt idx="876">
                  <c:v>0.31496326850597983</c:v>
                </c:pt>
                <c:pt idx="877">
                  <c:v>0.30422156216612356</c:v>
                </c:pt>
                <c:pt idx="878">
                  <c:v>0.30436709509342064</c:v>
                </c:pt>
                <c:pt idx="879">
                  <c:v>0.30102713340164949</c:v>
                </c:pt>
                <c:pt idx="880">
                  <c:v>0.30608207619766459</c:v>
                </c:pt>
                <c:pt idx="881">
                  <c:v>0.3053917229379276</c:v>
                </c:pt>
                <c:pt idx="882">
                  <c:v>0.30526377413148864</c:v>
                </c:pt>
                <c:pt idx="883">
                  <c:v>0.30601705238238153</c:v>
                </c:pt>
                <c:pt idx="884">
                  <c:v>0.30666574139597796</c:v>
                </c:pt>
                <c:pt idx="885">
                  <c:v>0.3186106208563026</c:v>
                </c:pt>
                <c:pt idx="886">
                  <c:v>0.3144984253857448</c:v>
                </c:pt>
                <c:pt idx="887">
                  <c:v>0.31294532619469362</c:v>
                </c:pt>
                <c:pt idx="888">
                  <c:v>0.31899934890878701</c:v>
                </c:pt>
                <c:pt idx="889">
                  <c:v>0.32124959481525089</c:v>
                </c:pt>
                <c:pt idx="890">
                  <c:v>0.34311448083082041</c:v>
                </c:pt>
                <c:pt idx="891">
                  <c:v>0.345862503277513</c:v>
                </c:pt>
                <c:pt idx="892">
                  <c:v>0.3445425795181547</c:v>
                </c:pt>
                <c:pt idx="893">
                  <c:v>0.34716904344284444</c:v>
                </c:pt>
                <c:pt idx="894">
                  <c:v>0.33801652009296101</c:v>
                </c:pt>
                <c:pt idx="895">
                  <c:v>0.34333763990555755</c:v>
                </c:pt>
                <c:pt idx="896">
                  <c:v>0.34436248911600453</c:v>
                </c:pt>
                <c:pt idx="897">
                  <c:v>0.33906394619377045</c:v>
                </c:pt>
                <c:pt idx="898">
                  <c:v>0.32880505090187817</c:v>
                </c:pt>
                <c:pt idx="899">
                  <c:v>0.33400186401652887</c:v>
                </c:pt>
                <c:pt idx="900">
                  <c:v>0.33438853796548934</c:v>
                </c:pt>
                <c:pt idx="901">
                  <c:v>0.33492458756485355</c:v>
                </c:pt>
                <c:pt idx="902">
                  <c:v>0.31010312747210728</c:v>
                </c:pt>
                <c:pt idx="903">
                  <c:v>0.2997875697503562</c:v>
                </c:pt>
                <c:pt idx="904">
                  <c:v>0.3152038365810631</c:v>
                </c:pt>
                <c:pt idx="905">
                  <c:v>0.3208790659114214</c:v>
                </c:pt>
                <c:pt idx="906">
                  <c:v>0.32614144353967522</c:v>
                </c:pt>
                <c:pt idx="907">
                  <c:v>0.32510587747240255</c:v>
                </c:pt>
                <c:pt idx="908">
                  <c:v>0.32317003993034121</c:v>
                </c:pt>
                <c:pt idx="909">
                  <c:v>0.33400114459766067</c:v>
                </c:pt>
                <c:pt idx="910">
                  <c:v>0.33512459183601506</c:v>
                </c:pt>
                <c:pt idx="911">
                  <c:v>0.33982163159607864</c:v>
                </c:pt>
                <c:pt idx="912">
                  <c:v>0.34087979321636286</c:v>
                </c:pt>
                <c:pt idx="913">
                  <c:v>0.34120173092825817</c:v>
                </c:pt>
                <c:pt idx="914">
                  <c:v>0.34174105276160177</c:v>
                </c:pt>
                <c:pt idx="915">
                  <c:v>0.34074721776684408</c:v>
                </c:pt>
                <c:pt idx="916">
                  <c:v>0.31811514391791451</c:v>
                </c:pt>
                <c:pt idx="917">
                  <c:v>0.34369346479906299</c:v>
                </c:pt>
                <c:pt idx="918">
                  <c:v>0.34525198862475703</c:v>
                </c:pt>
                <c:pt idx="919">
                  <c:v>0.33840780085685623</c:v>
                </c:pt>
                <c:pt idx="920">
                  <c:v>0.33022846957631485</c:v>
                </c:pt>
                <c:pt idx="921">
                  <c:v>0.30829449204665055</c:v>
                </c:pt>
                <c:pt idx="922">
                  <c:v>0.30496099209422273</c:v>
                </c:pt>
                <c:pt idx="923">
                  <c:v>0.31027073448157771</c:v>
                </c:pt>
                <c:pt idx="924">
                  <c:v>0.30571603623622645</c:v>
                </c:pt>
                <c:pt idx="925">
                  <c:v>0.30462150112760222</c:v>
                </c:pt>
                <c:pt idx="926">
                  <c:v>0.30048426671657863</c:v>
                </c:pt>
                <c:pt idx="927">
                  <c:v>0.29119718617485557</c:v>
                </c:pt>
                <c:pt idx="928">
                  <c:v>0.2913272281334911</c:v>
                </c:pt>
                <c:pt idx="929">
                  <c:v>0.29204867423335812</c:v>
                </c:pt>
                <c:pt idx="930">
                  <c:v>0.29041984636698498</c:v>
                </c:pt>
                <c:pt idx="931">
                  <c:v>0.31099303135965495</c:v>
                </c:pt>
                <c:pt idx="932">
                  <c:v>0.3109236890841654</c:v>
                </c:pt>
                <c:pt idx="933">
                  <c:v>0.32149724553418085</c:v>
                </c:pt>
                <c:pt idx="934">
                  <c:v>0.32489203420362361</c:v>
                </c:pt>
                <c:pt idx="935">
                  <c:v>0.30376560218656967</c:v>
                </c:pt>
                <c:pt idx="936">
                  <c:v>0.3052565235982746</c:v>
                </c:pt>
                <c:pt idx="937">
                  <c:v>0.28955302708173414</c:v>
                </c:pt>
                <c:pt idx="938">
                  <c:v>0.29779154366580879</c:v>
                </c:pt>
                <c:pt idx="939">
                  <c:v>0.30018568151735742</c:v>
                </c:pt>
                <c:pt idx="940">
                  <c:v>0.29265814823583614</c:v>
                </c:pt>
                <c:pt idx="941">
                  <c:v>0.29158943070511301</c:v>
                </c:pt>
                <c:pt idx="942">
                  <c:v>0.28862453061941945</c:v>
                </c:pt>
                <c:pt idx="943">
                  <c:v>0.28967840912441728</c:v>
                </c:pt>
                <c:pt idx="944">
                  <c:v>0.2884252986105334</c:v>
                </c:pt>
                <c:pt idx="945">
                  <c:v>0.28517760057346586</c:v>
                </c:pt>
                <c:pt idx="946">
                  <c:v>0.29219825834806751</c:v>
                </c:pt>
                <c:pt idx="947">
                  <c:v>0.30730000886858488</c:v>
                </c:pt>
                <c:pt idx="948">
                  <c:v>0.28312258397062035</c:v>
                </c:pt>
                <c:pt idx="949">
                  <c:v>0.28373638289518516</c:v>
                </c:pt>
                <c:pt idx="950">
                  <c:v>0.28336499115660035</c:v>
                </c:pt>
                <c:pt idx="951">
                  <c:v>0.29334971102394025</c:v>
                </c:pt>
                <c:pt idx="952">
                  <c:v>0.29514276935653755</c:v>
                </c:pt>
                <c:pt idx="953">
                  <c:v>0.30434183348988236</c:v>
                </c:pt>
                <c:pt idx="954">
                  <c:v>0.297279761972854</c:v>
                </c:pt>
                <c:pt idx="955">
                  <c:v>0.29483105029798362</c:v>
                </c:pt>
                <c:pt idx="956">
                  <c:v>0.29778177330198263</c:v>
                </c:pt>
                <c:pt idx="957">
                  <c:v>0.29106154903858272</c:v>
                </c:pt>
                <c:pt idx="958">
                  <c:v>0.29447901843171537</c:v>
                </c:pt>
                <c:pt idx="959">
                  <c:v>0.29570080766168183</c:v>
                </c:pt>
                <c:pt idx="960">
                  <c:v>0.29366439154812962</c:v>
                </c:pt>
                <c:pt idx="961">
                  <c:v>0.29728806737280761</c:v>
                </c:pt>
                <c:pt idx="962">
                  <c:v>0.28071017704164664</c:v>
                </c:pt>
                <c:pt idx="963">
                  <c:v>0.28166038602647586</c:v>
                </c:pt>
                <c:pt idx="964">
                  <c:v>0.27074177816387868</c:v>
                </c:pt>
                <c:pt idx="965">
                  <c:v>0.26669763866529084</c:v>
                </c:pt>
                <c:pt idx="966">
                  <c:v>0.26761333579260693</c:v>
                </c:pt>
                <c:pt idx="967">
                  <c:v>0.26416612253520089</c:v>
                </c:pt>
                <c:pt idx="968">
                  <c:v>0.26465009965638309</c:v>
                </c:pt>
                <c:pt idx="969">
                  <c:v>0.28135558039345288</c:v>
                </c:pt>
                <c:pt idx="970">
                  <c:v>0.27256664938356301</c:v>
                </c:pt>
                <c:pt idx="971">
                  <c:v>0.27348377484170183</c:v>
                </c:pt>
                <c:pt idx="972">
                  <c:v>0.27742478101225987</c:v>
                </c:pt>
                <c:pt idx="973">
                  <c:v>0.27251872109057146</c:v>
                </c:pt>
                <c:pt idx="974">
                  <c:v>0.26994061859152735</c:v>
                </c:pt>
                <c:pt idx="975">
                  <c:v>0.28189669328582539</c:v>
                </c:pt>
                <c:pt idx="976">
                  <c:v>0.28140761257946617</c:v>
                </c:pt>
                <c:pt idx="977">
                  <c:v>0.26422522759620815</c:v>
                </c:pt>
                <c:pt idx="978">
                  <c:v>0.25067953085622852</c:v>
                </c:pt>
                <c:pt idx="979">
                  <c:v>0.25741482520625242</c:v>
                </c:pt>
                <c:pt idx="980">
                  <c:v>0.25329281592229119</c:v>
                </c:pt>
                <c:pt idx="981">
                  <c:v>0.25535436783665433</c:v>
                </c:pt>
                <c:pt idx="982">
                  <c:v>0.26467745375650781</c:v>
                </c:pt>
                <c:pt idx="983">
                  <c:v>0.27159149562038326</c:v>
                </c:pt>
                <c:pt idx="984">
                  <c:v>0.26495083840256844</c:v>
                </c:pt>
                <c:pt idx="985">
                  <c:v>0.27689986441638265</c:v>
                </c:pt>
                <c:pt idx="986">
                  <c:v>0.2817168492842595</c:v>
                </c:pt>
                <c:pt idx="987">
                  <c:v>0.30916241483329865</c:v>
                </c:pt>
                <c:pt idx="988">
                  <c:v>0.3115522947282619</c:v>
                </c:pt>
                <c:pt idx="989">
                  <c:v>0.31358749024931443</c:v>
                </c:pt>
                <c:pt idx="990">
                  <c:v>0.31516351710888824</c:v>
                </c:pt>
                <c:pt idx="991">
                  <c:v>0.31332534990948896</c:v>
                </c:pt>
                <c:pt idx="992">
                  <c:v>0.32118308225849529</c:v>
                </c:pt>
                <c:pt idx="993">
                  <c:v>0.32222879255617176</c:v>
                </c:pt>
                <c:pt idx="994">
                  <c:v>0.3271346559155825</c:v>
                </c:pt>
                <c:pt idx="995">
                  <c:v>0.33105934978529816</c:v>
                </c:pt>
                <c:pt idx="996">
                  <c:v>0.33219654203613608</c:v>
                </c:pt>
                <c:pt idx="997">
                  <c:v>0.32983231970950855</c:v>
                </c:pt>
                <c:pt idx="998">
                  <c:v>0.32478853099349919</c:v>
                </c:pt>
                <c:pt idx="999">
                  <c:v>0.32466688702036117</c:v>
                </c:pt>
                <c:pt idx="1000">
                  <c:v>0.30416372162348482</c:v>
                </c:pt>
                <c:pt idx="1001">
                  <c:v>0.30368368936844031</c:v>
                </c:pt>
                <c:pt idx="1002">
                  <c:v>0.30269310803588251</c:v>
                </c:pt>
                <c:pt idx="1003">
                  <c:v>0.29717903544595309</c:v>
                </c:pt>
                <c:pt idx="1004">
                  <c:v>0.31496295091761828</c:v>
                </c:pt>
                <c:pt idx="1005">
                  <c:v>0.31506151269592475</c:v>
                </c:pt>
                <c:pt idx="1006">
                  <c:v>0.30400296262428411</c:v>
                </c:pt>
                <c:pt idx="1007">
                  <c:v>0.31926892705503429</c:v>
                </c:pt>
                <c:pt idx="1008">
                  <c:v>0.31851770341229629</c:v>
                </c:pt>
                <c:pt idx="1009">
                  <c:v>0.31879019234524736</c:v>
                </c:pt>
                <c:pt idx="1010">
                  <c:v>0.30491762196604555</c:v>
                </c:pt>
                <c:pt idx="1011">
                  <c:v>0.31733760492151913</c:v>
                </c:pt>
                <c:pt idx="1012">
                  <c:v>0.31501895142493053</c:v>
                </c:pt>
                <c:pt idx="1013">
                  <c:v>0.31014566186354037</c:v>
                </c:pt>
                <c:pt idx="1014">
                  <c:v>0.30846352828671569</c:v>
                </c:pt>
                <c:pt idx="1015">
                  <c:v>0.30360437417368513</c:v>
                </c:pt>
                <c:pt idx="1016">
                  <c:v>0.30929275996119138</c:v>
                </c:pt>
                <c:pt idx="1017">
                  <c:v>0.30308385090698353</c:v>
                </c:pt>
                <c:pt idx="1018">
                  <c:v>0.28364146295655673</c:v>
                </c:pt>
                <c:pt idx="1019">
                  <c:v>0.27837902155488597</c:v>
                </c:pt>
                <c:pt idx="1020">
                  <c:v>0.28815508911409826</c:v>
                </c:pt>
                <c:pt idx="1021">
                  <c:v>0.3027401670315672</c:v>
                </c:pt>
                <c:pt idx="1022">
                  <c:v>0.30265642605898874</c:v>
                </c:pt>
                <c:pt idx="1023">
                  <c:v>0.28599239571286539</c:v>
                </c:pt>
                <c:pt idx="1024">
                  <c:v>0.28487708451673105</c:v>
                </c:pt>
                <c:pt idx="1025">
                  <c:v>0.29085488684491095</c:v>
                </c:pt>
                <c:pt idx="1026">
                  <c:v>0.29010791157620996</c:v>
                </c:pt>
                <c:pt idx="1027">
                  <c:v>0.29073754479901115</c:v>
                </c:pt>
                <c:pt idx="1028">
                  <c:v>0.29130228486449955</c:v>
                </c:pt>
                <c:pt idx="1029">
                  <c:v>0.29417769351305817</c:v>
                </c:pt>
                <c:pt idx="1030">
                  <c:v>0.30148635160600851</c:v>
                </c:pt>
                <c:pt idx="1031">
                  <c:v>0.3153169960577818</c:v>
                </c:pt>
                <c:pt idx="1032">
                  <c:v>0.31624525154788324</c:v>
                </c:pt>
                <c:pt idx="1033">
                  <c:v>0.31775828420386465</c:v>
                </c:pt>
                <c:pt idx="1034">
                  <c:v>0.31717191076105028</c:v>
                </c:pt>
                <c:pt idx="1035">
                  <c:v>0.30462603685095013</c:v>
                </c:pt>
                <c:pt idx="1036">
                  <c:v>0.30474453908437937</c:v>
                </c:pt>
                <c:pt idx="1037">
                  <c:v>0.30336643780667527</c:v>
                </c:pt>
                <c:pt idx="1038">
                  <c:v>0.29559864634711935</c:v>
                </c:pt>
                <c:pt idx="1039">
                  <c:v>0.30559906871692261</c:v>
                </c:pt>
                <c:pt idx="1040">
                  <c:v>0.33859974624981265</c:v>
                </c:pt>
                <c:pt idx="1041">
                  <c:v>0.37290227708490509</c:v>
                </c:pt>
                <c:pt idx="1042">
                  <c:v>0.38163363695608377</c:v>
                </c:pt>
                <c:pt idx="1043">
                  <c:v>0.42117021005281613</c:v>
                </c:pt>
                <c:pt idx="1044">
                  <c:v>0.4365027644578206</c:v>
                </c:pt>
                <c:pt idx="1045">
                  <c:v>0.46552414474275933</c:v>
                </c:pt>
                <c:pt idx="1046">
                  <c:v>0.48899892699726027</c:v>
                </c:pt>
                <c:pt idx="1047">
                  <c:v>0.47824729589922582</c:v>
                </c:pt>
                <c:pt idx="1048">
                  <c:v>0.49645329496727808</c:v>
                </c:pt>
                <c:pt idx="1049">
                  <c:v>0.51186175897874753</c:v>
                </c:pt>
                <c:pt idx="1050">
                  <c:v>0.52009912707868988</c:v>
                </c:pt>
                <c:pt idx="1051">
                  <c:v>0.53977193573878834</c:v>
                </c:pt>
                <c:pt idx="1052">
                  <c:v>0.5469860464001296</c:v>
                </c:pt>
                <c:pt idx="1053">
                  <c:v>0.55008936313992229</c:v>
                </c:pt>
                <c:pt idx="1054">
                  <c:v>0.55651525348714415</c:v>
                </c:pt>
                <c:pt idx="1055">
                  <c:v>0.56706094858937051</c:v>
                </c:pt>
                <c:pt idx="1056">
                  <c:v>0.55778812856488036</c:v>
                </c:pt>
                <c:pt idx="1057">
                  <c:v>0.55300372225199435</c:v>
                </c:pt>
                <c:pt idx="1058">
                  <c:v>0.54318050876188284</c:v>
                </c:pt>
                <c:pt idx="1059">
                  <c:v>0.54117848337038044</c:v>
                </c:pt>
                <c:pt idx="1060">
                  <c:v>0.54101861727158207</c:v>
                </c:pt>
                <c:pt idx="1061">
                  <c:v>0.51701851466126136</c:v>
                </c:pt>
                <c:pt idx="1062">
                  <c:v>0.47539491052419985</c:v>
                </c:pt>
                <c:pt idx="1063">
                  <c:v>0.45372016066725634</c:v>
                </c:pt>
                <c:pt idx="1064">
                  <c:v>0.42440685710680148</c:v>
                </c:pt>
                <c:pt idx="1065">
                  <c:v>0.3965279146873848</c:v>
                </c:pt>
                <c:pt idx="1066">
                  <c:v>0.35962187708370635</c:v>
                </c:pt>
                <c:pt idx="1067">
                  <c:v>0.31907856669400952</c:v>
                </c:pt>
                <c:pt idx="1068">
                  <c:v>0.28038106863533563</c:v>
                </c:pt>
                <c:pt idx="1069">
                  <c:v>0.14547349815048949</c:v>
                </c:pt>
                <c:pt idx="1070">
                  <c:v>0.12185219587233945</c:v>
                </c:pt>
                <c:pt idx="1071">
                  <c:v>0.11970354371029091</c:v>
                </c:pt>
                <c:pt idx="1072">
                  <c:v>0.13854908555339759</c:v>
                </c:pt>
                <c:pt idx="1073">
                  <c:v>0.14118741217246727</c:v>
                </c:pt>
                <c:pt idx="1074">
                  <c:v>0.15420202796609173</c:v>
                </c:pt>
                <c:pt idx="1075">
                  <c:v>0.15972092059462559</c:v>
                </c:pt>
                <c:pt idx="1076">
                  <c:v>0.16033609419052042</c:v>
                </c:pt>
                <c:pt idx="1077">
                  <c:v>0.16024936956524929</c:v>
                </c:pt>
                <c:pt idx="1078">
                  <c:v>0.16024237081279694</c:v>
                </c:pt>
                <c:pt idx="1079">
                  <c:v>0.16404336697136232</c:v>
                </c:pt>
                <c:pt idx="1080">
                  <c:v>0.16518822875833492</c:v>
                </c:pt>
                <c:pt idx="1081">
                  <c:v>0.16825951716875859</c:v>
                </c:pt>
                <c:pt idx="1082">
                  <c:v>0.17882419968728014</c:v>
                </c:pt>
                <c:pt idx="1083">
                  <c:v>0.17856368341511669</c:v>
                </c:pt>
                <c:pt idx="1084">
                  <c:v>0.33622609416285365</c:v>
                </c:pt>
                <c:pt idx="1085">
                  <c:v>0.41762750890448197</c:v>
                </c:pt>
                <c:pt idx="1086">
                  <c:v>0.45366650218814053</c:v>
                </c:pt>
                <c:pt idx="1087">
                  <c:v>0.49051100836237649</c:v>
                </c:pt>
                <c:pt idx="1088">
                  <c:v>0.50368495493303023</c:v>
                </c:pt>
                <c:pt idx="1089">
                  <c:v>0.54021563465690547</c:v>
                </c:pt>
                <c:pt idx="1090">
                  <c:v>0.59515013905270064</c:v>
                </c:pt>
                <c:pt idx="1091">
                  <c:v>0.62202262317423074</c:v>
                </c:pt>
                <c:pt idx="1092">
                  <c:v>0.6410089525655005</c:v>
                </c:pt>
                <c:pt idx="1093">
                  <c:v>0.67413764676170895</c:v>
                </c:pt>
                <c:pt idx="1094">
                  <c:v>0.69250728010470397</c:v>
                </c:pt>
                <c:pt idx="1095">
                  <c:v>0.72048124269199543</c:v>
                </c:pt>
                <c:pt idx="1096">
                  <c:v>0.7266373140455874</c:v>
                </c:pt>
                <c:pt idx="1097">
                  <c:v>0.72230804196147569</c:v>
                </c:pt>
                <c:pt idx="1098">
                  <c:v>0.71957030366550434</c:v>
                </c:pt>
                <c:pt idx="1099">
                  <c:v>0.70902231507100855</c:v>
                </c:pt>
                <c:pt idx="1100">
                  <c:v>0.70184772678866458</c:v>
                </c:pt>
                <c:pt idx="1101">
                  <c:v>0.6891166524732848</c:v>
                </c:pt>
                <c:pt idx="1102">
                  <c:v>0.67961937500629144</c:v>
                </c:pt>
                <c:pt idx="1103">
                  <c:v>0.67702520213021533</c:v>
                </c:pt>
                <c:pt idx="1104">
                  <c:v>0.65685938447239967</c:v>
                </c:pt>
                <c:pt idx="1105">
                  <c:v>0.62690547419432396</c:v>
                </c:pt>
                <c:pt idx="1106">
                  <c:v>0.62501947212662412</c:v>
                </c:pt>
                <c:pt idx="1107">
                  <c:v>0.60352117736344257</c:v>
                </c:pt>
                <c:pt idx="1108">
                  <c:v>0.57787315807386919</c:v>
                </c:pt>
                <c:pt idx="1109">
                  <c:v>0.5468339412449158</c:v>
                </c:pt>
                <c:pt idx="1110">
                  <c:v>0.50590335854376434</c:v>
                </c:pt>
                <c:pt idx="1111">
                  <c:v>0.48039166520781884</c:v>
                </c:pt>
                <c:pt idx="1112">
                  <c:v>0.42270785983551051</c:v>
                </c:pt>
                <c:pt idx="1113">
                  <c:v>0.34186033988240488</c:v>
                </c:pt>
                <c:pt idx="1114">
                  <c:v>0.29062023464831782</c:v>
                </c:pt>
                <c:pt idx="1115">
                  <c:v>0.28263273271514971</c:v>
                </c:pt>
                <c:pt idx="1116">
                  <c:v>0.27707411664852782</c:v>
                </c:pt>
                <c:pt idx="1117">
                  <c:v>0.28612344379710214</c:v>
                </c:pt>
                <c:pt idx="1118">
                  <c:v>0.30385679896186052</c:v>
                </c:pt>
                <c:pt idx="1119">
                  <c:v>0.31143179913349556</c:v>
                </c:pt>
                <c:pt idx="1120">
                  <c:v>0.33630611739786004</c:v>
                </c:pt>
                <c:pt idx="1121">
                  <c:v>0.32169787712310333</c:v>
                </c:pt>
                <c:pt idx="1122">
                  <c:v>0.32431552082911058</c:v>
                </c:pt>
                <c:pt idx="1123">
                  <c:v>0.32958809662939176</c:v>
                </c:pt>
                <c:pt idx="1124">
                  <c:v>0.31936616884980323</c:v>
                </c:pt>
                <c:pt idx="1125">
                  <c:v>0.32340800447209295</c:v>
                </c:pt>
                <c:pt idx="1126">
                  <c:v>0.31452944414134831</c:v>
                </c:pt>
                <c:pt idx="1127">
                  <c:v>0.31574756053367359</c:v>
                </c:pt>
                <c:pt idx="1128">
                  <c:v>0.31572835148945466</c:v>
                </c:pt>
                <c:pt idx="1129">
                  <c:v>0.32960128613406631</c:v>
                </c:pt>
                <c:pt idx="1130">
                  <c:v>0.33740460728824861</c:v>
                </c:pt>
                <c:pt idx="1131">
                  <c:v>0.33749194833365198</c:v>
                </c:pt>
                <c:pt idx="1132">
                  <c:v>0.34853685663855249</c:v>
                </c:pt>
                <c:pt idx="1133">
                  <c:v>0.34041091466515744</c:v>
                </c:pt>
                <c:pt idx="1134">
                  <c:v>0.33460261546652581</c:v>
                </c:pt>
                <c:pt idx="1135">
                  <c:v>0.33338987324242009</c:v>
                </c:pt>
                <c:pt idx="1136">
                  <c:v>0.33676530396010057</c:v>
                </c:pt>
                <c:pt idx="1137">
                  <c:v>0.3334513002681383</c:v>
                </c:pt>
                <c:pt idx="1138">
                  <c:v>0.33815054818515117</c:v>
                </c:pt>
                <c:pt idx="1139">
                  <c:v>0.3502313464371839</c:v>
                </c:pt>
                <c:pt idx="1140">
                  <c:v>0.35385153665093366</c:v>
                </c:pt>
                <c:pt idx="1141">
                  <c:v>0.35064988298267286</c:v>
                </c:pt>
                <c:pt idx="1142">
                  <c:v>0.34885371961080863</c:v>
                </c:pt>
                <c:pt idx="1143">
                  <c:v>0.35160039138771559</c:v>
                </c:pt>
                <c:pt idx="1144">
                  <c:v>0.3554012874511201</c:v>
                </c:pt>
                <c:pt idx="1145">
                  <c:v>0.35323493655976579</c:v>
                </c:pt>
                <c:pt idx="1146">
                  <c:v>0.35540831777368975</c:v>
                </c:pt>
                <c:pt idx="1147">
                  <c:v>0.36110542112775695</c:v>
                </c:pt>
                <c:pt idx="1148">
                  <c:v>0.3611319493195127</c:v>
                </c:pt>
                <c:pt idx="1149">
                  <c:v>0.35372066331922963</c:v>
                </c:pt>
                <c:pt idx="1150">
                  <c:v>0.35910956427649587</c:v>
                </c:pt>
                <c:pt idx="1151">
                  <c:v>0.33413179443339208</c:v>
                </c:pt>
                <c:pt idx="1152">
                  <c:v>0.34278979547236216</c:v>
                </c:pt>
                <c:pt idx="1153">
                  <c:v>0.33488711340001714</c:v>
                </c:pt>
                <c:pt idx="1154">
                  <c:v>0.34095524293004514</c:v>
                </c:pt>
                <c:pt idx="1155">
                  <c:v>0.34842349129767458</c:v>
                </c:pt>
                <c:pt idx="1156">
                  <c:v>0.35581684783602507</c:v>
                </c:pt>
                <c:pt idx="1157">
                  <c:v>0.37205795766399424</c:v>
                </c:pt>
                <c:pt idx="1158">
                  <c:v>0.37364333536199956</c:v>
                </c:pt>
                <c:pt idx="1159">
                  <c:v>0.37929043916472616</c:v>
                </c:pt>
                <c:pt idx="1160">
                  <c:v>0.38300818523269603</c:v>
                </c:pt>
                <c:pt idx="1161">
                  <c:v>0.37979267595782484</c:v>
                </c:pt>
                <c:pt idx="1162">
                  <c:v>0.38006857800443972</c:v>
                </c:pt>
                <c:pt idx="1163">
                  <c:v>0.37663778197822778</c:v>
                </c:pt>
                <c:pt idx="1164">
                  <c:v>0.38459715819747597</c:v>
                </c:pt>
                <c:pt idx="1165">
                  <c:v>0.38576204422009508</c:v>
                </c:pt>
                <c:pt idx="1166">
                  <c:v>0.38690639960691442</c:v>
                </c:pt>
                <c:pt idx="1167">
                  <c:v>0.38754284709517134</c:v>
                </c:pt>
                <c:pt idx="1168">
                  <c:v>0.38938761916495995</c:v>
                </c:pt>
                <c:pt idx="1169">
                  <c:v>0.38311331810701577</c:v>
                </c:pt>
                <c:pt idx="1170">
                  <c:v>0.37646658668571353</c:v>
                </c:pt>
                <c:pt idx="1171">
                  <c:v>0.37949479903444627</c:v>
                </c:pt>
                <c:pt idx="1172">
                  <c:v>0.3811955179407015</c:v>
                </c:pt>
                <c:pt idx="1173">
                  <c:v>0.38019297023031129</c:v>
                </c:pt>
                <c:pt idx="1174">
                  <c:v>0.38268843873526015</c:v>
                </c:pt>
                <c:pt idx="1175">
                  <c:v>0.37773210809541663</c:v>
                </c:pt>
                <c:pt idx="1176">
                  <c:v>0.37828642301467807</c:v>
                </c:pt>
                <c:pt idx="1177">
                  <c:v>0.37410406209358521</c:v>
                </c:pt>
                <c:pt idx="1178">
                  <c:v>0.36952222968399207</c:v>
                </c:pt>
                <c:pt idx="1179">
                  <c:v>0.36445037824829163</c:v>
                </c:pt>
                <c:pt idx="1180">
                  <c:v>0.35671973724505895</c:v>
                </c:pt>
                <c:pt idx="1181">
                  <c:v>0.34790460383200261</c:v>
                </c:pt>
                <c:pt idx="1182">
                  <c:v>0.34855895427999101</c:v>
                </c:pt>
                <c:pt idx="1183">
                  <c:v>0.34212115036190266</c:v>
                </c:pt>
                <c:pt idx="1184">
                  <c:v>0.34419655588986142</c:v>
                </c:pt>
                <c:pt idx="1185">
                  <c:v>0.34161677650300176</c:v>
                </c:pt>
                <c:pt idx="1186">
                  <c:v>0.33391874921409798</c:v>
                </c:pt>
                <c:pt idx="1187">
                  <c:v>0.31817894917890538</c:v>
                </c:pt>
                <c:pt idx="1188">
                  <c:v>0.30227642487778805</c:v>
                </c:pt>
                <c:pt idx="1189">
                  <c:v>0.29844159914389901</c:v>
                </c:pt>
                <c:pt idx="1190">
                  <c:v>0.30302870799349202</c:v>
                </c:pt>
                <c:pt idx="1191">
                  <c:v>0.29160238074217282</c:v>
                </c:pt>
                <c:pt idx="1192">
                  <c:v>0.31981910486394066</c:v>
                </c:pt>
                <c:pt idx="1193">
                  <c:v>0.3455753255581232</c:v>
                </c:pt>
                <c:pt idx="1194">
                  <c:v>0.34036549090766971</c:v>
                </c:pt>
                <c:pt idx="1195">
                  <c:v>0.33863683155524116</c:v>
                </c:pt>
                <c:pt idx="1196">
                  <c:v>0.34146514412794304</c:v>
                </c:pt>
                <c:pt idx="1197">
                  <c:v>0.34470311379116564</c:v>
                </c:pt>
                <c:pt idx="1198">
                  <c:v>0.34019240193187811</c:v>
                </c:pt>
                <c:pt idx="1199">
                  <c:v>0.35461131191674572</c:v>
                </c:pt>
                <c:pt idx="1200">
                  <c:v>0.35816378798418658</c:v>
                </c:pt>
                <c:pt idx="1201">
                  <c:v>0.35646022208601108</c:v>
                </c:pt>
                <c:pt idx="1202">
                  <c:v>0.35144153002016215</c:v>
                </c:pt>
                <c:pt idx="1203">
                  <c:v>0.34774623008427391</c:v>
                </c:pt>
                <c:pt idx="1204">
                  <c:v>0.3511599000743188</c:v>
                </c:pt>
                <c:pt idx="1205">
                  <c:v>0.34500318127277918</c:v>
                </c:pt>
                <c:pt idx="1206">
                  <c:v>0.33663187019230961</c:v>
                </c:pt>
                <c:pt idx="1207">
                  <c:v>0.34802879242160645</c:v>
                </c:pt>
                <c:pt idx="1208">
                  <c:v>0.3474682908686389</c:v>
                </c:pt>
                <c:pt idx="1209">
                  <c:v>0.3472060666283997</c:v>
                </c:pt>
                <c:pt idx="1210">
                  <c:v>0.37030741500073228</c:v>
                </c:pt>
                <c:pt idx="1211">
                  <c:v>0.38974845679975256</c:v>
                </c:pt>
                <c:pt idx="1212">
                  <c:v>0.38974845679975501</c:v>
                </c:pt>
                <c:pt idx="1213">
                  <c:v>0.38990787504486019</c:v>
                </c:pt>
                <c:pt idx="1214">
                  <c:v>0.38639096505284792</c:v>
                </c:pt>
                <c:pt idx="1215">
                  <c:v>0.38843157107741788</c:v>
                </c:pt>
                <c:pt idx="1216">
                  <c:v>0.38772030817122349</c:v>
                </c:pt>
                <c:pt idx="1217">
                  <c:v>0.3848142741998325</c:v>
                </c:pt>
                <c:pt idx="1218">
                  <c:v>0.38312559258803286</c:v>
                </c:pt>
                <c:pt idx="1219">
                  <c:v>0.38144849027967559</c:v>
                </c:pt>
                <c:pt idx="1220">
                  <c:v>0.38481270685779639</c:v>
                </c:pt>
                <c:pt idx="1221">
                  <c:v>0.38057583990296273</c:v>
                </c:pt>
                <c:pt idx="1222">
                  <c:v>0.38523035469624572</c:v>
                </c:pt>
                <c:pt idx="1223">
                  <c:v>0.37761131869126824</c:v>
                </c:pt>
                <c:pt idx="1224">
                  <c:v>0.35552947213830177</c:v>
                </c:pt>
                <c:pt idx="1225">
                  <c:v>0.37136539878130309</c:v>
                </c:pt>
                <c:pt idx="1226">
                  <c:v>0.36380472409636355</c:v>
                </c:pt>
                <c:pt idx="1227">
                  <c:v>0.35932543384353943</c:v>
                </c:pt>
                <c:pt idx="1228">
                  <c:v>0.3577455837439969</c:v>
                </c:pt>
                <c:pt idx="1229">
                  <c:v>0.36501173797494579</c:v>
                </c:pt>
                <c:pt idx="1230">
                  <c:v>0.35127626616909113</c:v>
                </c:pt>
                <c:pt idx="1231">
                  <c:v>0.34776956345404303</c:v>
                </c:pt>
                <c:pt idx="1232">
                  <c:v>0.38729681175447234</c:v>
                </c:pt>
                <c:pt idx="1233">
                  <c:v>0.41638868951292313</c:v>
                </c:pt>
                <c:pt idx="1234">
                  <c:v>0.44337631063001515</c:v>
                </c:pt>
                <c:pt idx="1235">
                  <c:v>0.46881447370522655</c:v>
                </c:pt>
                <c:pt idx="1236">
                  <c:v>0.49308397556912459</c:v>
                </c:pt>
                <c:pt idx="1237">
                  <c:v>0.50485792645270966</c:v>
                </c:pt>
                <c:pt idx="1238">
                  <c:v>0.51063430339231719</c:v>
                </c:pt>
                <c:pt idx="1239">
                  <c:v>0.52364043043244379</c:v>
                </c:pt>
                <c:pt idx="1240">
                  <c:v>0.52511494226324651</c:v>
                </c:pt>
                <c:pt idx="1241">
                  <c:v>0.54000202011922349</c:v>
                </c:pt>
                <c:pt idx="1242">
                  <c:v>0.5122973576347557</c:v>
                </c:pt>
                <c:pt idx="1243">
                  <c:v>0.49975443812899439</c:v>
                </c:pt>
                <c:pt idx="1244">
                  <c:v>0.5154958501092376</c:v>
                </c:pt>
                <c:pt idx="1245">
                  <c:v>0.50793779553852225</c:v>
                </c:pt>
                <c:pt idx="1246">
                  <c:v>0.50913755911859193</c:v>
                </c:pt>
                <c:pt idx="1247">
                  <c:v>0.51645153696573198</c:v>
                </c:pt>
                <c:pt idx="1248">
                  <c:v>0.515786675271666</c:v>
                </c:pt>
                <c:pt idx="1249">
                  <c:v>0.51405846228970908</c:v>
                </c:pt>
                <c:pt idx="1250">
                  <c:v>0.52083949984517053</c:v>
                </c:pt>
                <c:pt idx="1251">
                  <c:v>0.52012571364120019</c:v>
                </c:pt>
                <c:pt idx="1252">
                  <c:v>0.5045744270632273</c:v>
                </c:pt>
                <c:pt idx="1253">
                  <c:v>0.47906670958229219</c:v>
                </c:pt>
                <c:pt idx="1254">
                  <c:v>0.42209383867999528</c:v>
                </c:pt>
                <c:pt idx="1255">
                  <c:v>0.41175403135450206</c:v>
                </c:pt>
                <c:pt idx="1256">
                  <c:v>0.41187755530383086</c:v>
                </c:pt>
                <c:pt idx="1257">
                  <c:v>0.38713771664068375</c:v>
                </c:pt>
                <c:pt idx="1258">
                  <c:v>0.34593205834789342</c:v>
                </c:pt>
                <c:pt idx="1259">
                  <c:v>0.32309679272783476</c:v>
                </c:pt>
                <c:pt idx="1260">
                  <c:v>0.31286220279816435</c:v>
                </c:pt>
                <c:pt idx="1261">
                  <c:v>0.23902300443235638</c:v>
                </c:pt>
                <c:pt idx="1262">
                  <c:v>0.1899391626887961</c:v>
                </c:pt>
                <c:pt idx="1263">
                  <c:v>0.19117280219310295</c:v>
                </c:pt>
                <c:pt idx="1264">
                  <c:v>0.20179540651631939</c:v>
                </c:pt>
                <c:pt idx="1265">
                  <c:v>0.20170162258994337</c:v>
                </c:pt>
                <c:pt idx="1266">
                  <c:v>0.20256795328733615</c:v>
                </c:pt>
                <c:pt idx="1267">
                  <c:v>0.20714445971533757</c:v>
                </c:pt>
                <c:pt idx="1268">
                  <c:v>0.20988923172659774</c:v>
                </c:pt>
                <c:pt idx="1269">
                  <c:v>0.20829846489873377</c:v>
                </c:pt>
                <c:pt idx="1270">
                  <c:v>0.21173421014930618</c:v>
                </c:pt>
                <c:pt idx="1271">
                  <c:v>0.20657730791154624</c:v>
                </c:pt>
                <c:pt idx="1272">
                  <c:v>0.21369899524073574</c:v>
                </c:pt>
                <c:pt idx="1273">
                  <c:v>0.20881803345299324</c:v>
                </c:pt>
                <c:pt idx="1274">
                  <c:v>0.21048377467184512</c:v>
                </c:pt>
                <c:pt idx="1275">
                  <c:v>0.20570599303477294</c:v>
                </c:pt>
                <c:pt idx="1276">
                  <c:v>0.21872642115364183</c:v>
                </c:pt>
                <c:pt idx="1277">
                  <c:v>0.27347817753277065</c:v>
                </c:pt>
                <c:pt idx="1278">
                  <c:v>0.33867995690873209</c:v>
                </c:pt>
                <c:pt idx="1279">
                  <c:v>0.38442327391725878</c:v>
                </c:pt>
                <c:pt idx="1280">
                  <c:v>0.3837000049585606</c:v>
                </c:pt>
                <c:pt idx="1281">
                  <c:v>0.4182851514289489</c:v>
                </c:pt>
                <c:pt idx="1282">
                  <c:v>0.45307150576492083</c:v>
                </c:pt>
                <c:pt idx="1283">
                  <c:v>0.47470086214708029</c:v>
                </c:pt>
                <c:pt idx="1284">
                  <c:v>0.49140863332286894</c:v>
                </c:pt>
                <c:pt idx="1285">
                  <c:v>0.53286333604375402</c:v>
                </c:pt>
                <c:pt idx="1286">
                  <c:v>0.52822230600972708</c:v>
                </c:pt>
                <c:pt idx="1287">
                  <c:v>0.55446280000008319</c:v>
                </c:pt>
                <c:pt idx="1288">
                  <c:v>0.55595191758111062</c:v>
                </c:pt>
                <c:pt idx="1289">
                  <c:v>0.55065913742274586</c:v>
                </c:pt>
                <c:pt idx="1290">
                  <c:v>0.54849339164439159</c:v>
                </c:pt>
                <c:pt idx="1291">
                  <c:v>0.5528893007009531</c:v>
                </c:pt>
                <c:pt idx="1292">
                  <c:v>0.54870963957222951</c:v>
                </c:pt>
                <c:pt idx="1293">
                  <c:v>0.54556077806429026</c:v>
                </c:pt>
                <c:pt idx="1294">
                  <c:v>0.53451074235003337</c:v>
                </c:pt>
                <c:pt idx="1295">
                  <c:v>0.5123663264007069</c:v>
                </c:pt>
                <c:pt idx="1296">
                  <c:v>0.51687502076692682</c:v>
                </c:pt>
                <c:pt idx="1297">
                  <c:v>0.50214292181830122</c:v>
                </c:pt>
                <c:pt idx="1298">
                  <c:v>0.50627774448382712</c:v>
                </c:pt>
                <c:pt idx="1299">
                  <c:v>0.48416044800320218</c:v>
                </c:pt>
                <c:pt idx="1300">
                  <c:v>0.45519609560725915</c:v>
                </c:pt>
                <c:pt idx="1301">
                  <c:v>0.45907088400122353</c:v>
                </c:pt>
                <c:pt idx="1302">
                  <c:v>0.44106913495132472</c:v>
                </c:pt>
                <c:pt idx="1303">
                  <c:v>0.38955445805994748</c:v>
                </c:pt>
                <c:pt idx="1304">
                  <c:v>0.36315982962565774</c:v>
                </c:pt>
                <c:pt idx="1305">
                  <c:v>0.31695258067130988</c:v>
                </c:pt>
                <c:pt idx="1306">
                  <c:v>0.28905899978303184</c:v>
                </c:pt>
                <c:pt idx="1307">
                  <c:v>0.27720845365987196</c:v>
                </c:pt>
                <c:pt idx="1308">
                  <c:v>0.2772859339903106</c:v>
                </c:pt>
                <c:pt idx="1309">
                  <c:v>0.28118281868999201</c:v>
                </c:pt>
                <c:pt idx="1310">
                  <c:v>0.29353445391901611</c:v>
                </c:pt>
                <c:pt idx="1311">
                  <c:v>0.29218735797371487</c:v>
                </c:pt>
                <c:pt idx="1312">
                  <c:v>0.30057509587717335</c:v>
                </c:pt>
                <c:pt idx="1313">
                  <c:v>0.30110485629025302</c:v>
                </c:pt>
                <c:pt idx="1314">
                  <c:v>0.30332369239667922</c:v>
                </c:pt>
                <c:pt idx="1315">
                  <c:v>0.31067815052424047</c:v>
                </c:pt>
                <c:pt idx="1316">
                  <c:v>0.31296296759122205</c:v>
                </c:pt>
                <c:pt idx="1317">
                  <c:v>0.30657931164823499</c:v>
                </c:pt>
                <c:pt idx="1318">
                  <c:v>0.33018461156386186</c:v>
                </c:pt>
                <c:pt idx="1319">
                  <c:v>0.33105162975479963</c:v>
                </c:pt>
                <c:pt idx="1320">
                  <c:v>0.33336581590791692</c:v>
                </c:pt>
                <c:pt idx="1321">
                  <c:v>0.32027124976166438</c:v>
                </c:pt>
                <c:pt idx="1322">
                  <c:v>0.32246607248175407</c:v>
                </c:pt>
                <c:pt idx="1323">
                  <c:v>0.33030283439190677</c:v>
                </c:pt>
                <c:pt idx="1324">
                  <c:v>0.34316486035683841</c:v>
                </c:pt>
                <c:pt idx="1325">
                  <c:v>0.33895169708282274</c:v>
                </c:pt>
                <c:pt idx="1326">
                  <c:v>0.34523703046930093</c:v>
                </c:pt>
                <c:pt idx="1327">
                  <c:v>0.34946896692605994</c:v>
                </c:pt>
                <c:pt idx="1328">
                  <c:v>0.34937685130885721</c:v>
                </c:pt>
                <c:pt idx="1329">
                  <c:v>0.35133375555156227</c:v>
                </c:pt>
                <c:pt idx="1330">
                  <c:v>0.35045519878833353</c:v>
                </c:pt>
                <c:pt idx="1331">
                  <c:v>0.35004979763340854</c:v>
                </c:pt>
                <c:pt idx="1332">
                  <c:v>0.34878389161147799</c:v>
                </c:pt>
                <c:pt idx="1333">
                  <c:v>0.34513055632374784</c:v>
                </c:pt>
                <c:pt idx="1334">
                  <c:v>0.34789934959720992</c:v>
                </c:pt>
                <c:pt idx="1335">
                  <c:v>0.3524325651455521</c:v>
                </c:pt>
                <c:pt idx="1336">
                  <c:v>0.34136336936961476</c:v>
                </c:pt>
                <c:pt idx="1337">
                  <c:v>0.33940589816403205</c:v>
                </c:pt>
                <c:pt idx="1338">
                  <c:v>0.34685492896426917</c:v>
                </c:pt>
                <c:pt idx="1339">
                  <c:v>0.34718133767253795</c:v>
                </c:pt>
                <c:pt idx="1340">
                  <c:v>0.35559613119477496</c:v>
                </c:pt>
                <c:pt idx="1341">
                  <c:v>0.34815801379471817</c:v>
                </c:pt>
                <c:pt idx="1342">
                  <c:v>0.33878441325438347</c:v>
                </c:pt>
                <c:pt idx="1343">
                  <c:v>0.33417688010554625</c:v>
                </c:pt>
                <c:pt idx="1344">
                  <c:v>0.33141831444868686</c:v>
                </c:pt>
                <c:pt idx="1345">
                  <c:v>0.32879318817728065</c:v>
                </c:pt>
                <c:pt idx="1346">
                  <c:v>0.31500490792842206</c:v>
                </c:pt>
                <c:pt idx="1347">
                  <c:v>0.31097869135804695</c:v>
                </c:pt>
                <c:pt idx="1348">
                  <c:v>0.31440778003385311</c:v>
                </c:pt>
                <c:pt idx="1349">
                  <c:v>0.29653715718091112</c:v>
                </c:pt>
                <c:pt idx="1350">
                  <c:v>0.29356033665233772</c:v>
                </c:pt>
                <c:pt idx="1351">
                  <c:v>0.31515405759020776</c:v>
                </c:pt>
                <c:pt idx="1352">
                  <c:v>0.32897883331408634</c:v>
                </c:pt>
                <c:pt idx="1353">
                  <c:v>0.3474004331195788</c:v>
                </c:pt>
                <c:pt idx="1354">
                  <c:v>0.33368593534142627</c:v>
                </c:pt>
                <c:pt idx="1355">
                  <c:v>0.31992143545429852</c:v>
                </c:pt>
                <c:pt idx="1356">
                  <c:v>0.32602675032860018</c:v>
                </c:pt>
                <c:pt idx="1357">
                  <c:v>0.3127679353175572</c:v>
                </c:pt>
                <c:pt idx="1358">
                  <c:v>0.31089613640039088</c:v>
                </c:pt>
                <c:pt idx="1359">
                  <c:v>0.31065495072671123</c:v>
                </c:pt>
                <c:pt idx="1360">
                  <c:v>0.31264613434540034</c:v>
                </c:pt>
                <c:pt idx="1361">
                  <c:v>0.31429055797709754</c:v>
                </c:pt>
                <c:pt idx="1362">
                  <c:v>0.32465179404051436</c:v>
                </c:pt>
                <c:pt idx="1363">
                  <c:v>0.32662278743662326</c:v>
                </c:pt>
                <c:pt idx="1364">
                  <c:v>0.32501152912676329</c:v>
                </c:pt>
                <c:pt idx="1365">
                  <c:v>0.32538033951377299</c:v>
                </c:pt>
                <c:pt idx="1366">
                  <c:v>0.32153925589885868</c:v>
                </c:pt>
                <c:pt idx="1367">
                  <c:v>0.33841465317661412</c:v>
                </c:pt>
                <c:pt idx="1368">
                  <c:v>0.34069741142574894</c:v>
                </c:pt>
                <c:pt idx="1369">
                  <c:v>0.34967279650968808</c:v>
                </c:pt>
                <c:pt idx="1370">
                  <c:v>0.35256870994015832</c:v>
                </c:pt>
                <c:pt idx="1371">
                  <c:v>0.35203285446415905</c:v>
                </c:pt>
                <c:pt idx="1372">
                  <c:v>0.35356979934352339</c:v>
                </c:pt>
                <c:pt idx="1373">
                  <c:v>0.34757650620129488</c:v>
                </c:pt>
                <c:pt idx="1374">
                  <c:v>0.36023782270543336</c:v>
                </c:pt>
                <c:pt idx="1375">
                  <c:v>0.38356175020919397</c:v>
                </c:pt>
                <c:pt idx="1376">
                  <c:v>0.38008753274907875</c:v>
                </c:pt>
                <c:pt idx="1377">
                  <c:v>0.38772450428382843</c:v>
                </c:pt>
                <c:pt idx="1378">
                  <c:v>0.39648544631006188</c:v>
                </c:pt>
                <c:pt idx="1379">
                  <c:v>0.39809590325968269</c:v>
                </c:pt>
                <c:pt idx="1380">
                  <c:v>0.39467147583571122</c:v>
                </c:pt>
                <c:pt idx="1381">
                  <c:v>0.40315194550040934</c:v>
                </c:pt>
                <c:pt idx="1382">
                  <c:v>0.38720288965835253</c:v>
                </c:pt>
                <c:pt idx="1383">
                  <c:v>0.37601632715973982</c:v>
                </c:pt>
                <c:pt idx="1384">
                  <c:v>0.35787259324275461</c:v>
                </c:pt>
                <c:pt idx="1385">
                  <c:v>0.35740303813376745</c:v>
                </c:pt>
                <c:pt idx="1386">
                  <c:v>0.35173303425504771</c:v>
                </c:pt>
                <c:pt idx="1387">
                  <c:v>0.35522858715124722</c:v>
                </c:pt>
                <c:pt idx="1388">
                  <c:v>0.35476963217229401</c:v>
                </c:pt>
                <c:pt idx="1389">
                  <c:v>0.36502770736511247</c:v>
                </c:pt>
                <c:pt idx="1390">
                  <c:v>0.36416645006424742</c:v>
                </c:pt>
                <c:pt idx="1391">
                  <c:v>0.36153451436021095</c:v>
                </c:pt>
                <c:pt idx="1392">
                  <c:v>0.35939471617085506</c:v>
                </c:pt>
                <c:pt idx="1393">
                  <c:v>0.35092150155649249</c:v>
                </c:pt>
                <c:pt idx="1394">
                  <c:v>0.3467611240407103</c:v>
                </c:pt>
                <c:pt idx="1395">
                  <c:v>0.3461746653320375</c:v>
                </c:pt>
                <c:pt idx="1396">
                  <c:v>0.34552517711220698</c:v>
                </c:pt>
                <c:pt idx="1397">
                  <c:v>0.35279106206779626</c:v>
                </c:pt>
                <c:pt idx="1398">
                  <c:v>0.33932546483084081</c:v>
                </c:pt>
                <c:pt idx="1399">
                  <c:v>0.33746819902121666</c:v>
                </c:pt>
                <c:pt idx="1400">
                  <c:v>0.32233853254695705</c:v>
                </c:pt>
                <c:pt idx="1401">
                  <c:v>0.32230932519368743</c:v>
                </c:pt>
                <c:pt idx="1402">
                  <c:v>0.31793149662569881</c:v>
                </c:pt>
                <c:pt idx="1403">
                  <c:v>0.31749113363474712</c:v>
                </c:pt>
                <c:pt idx="1404">
                  <c:v>0.31064213312104805</c:v>
                </c:pt>
                <c:pt idx="1405">
                  <c:v>0.29258500170484347</c:v>
                </c:pt>
                <c:pt idx="1406">
                  <c:v>0.2519050736942422</c:v>
                </c:pt>
                <c:pt idx="1407">
                  <c:v>0.25785724300136481</c:v>
                </c:pt>
                <c:pt idx="1408">
                  <c:v>0.25090337297468279</c:v>
                </c:pt>
                <c:pt idx="1409">
                  <c:v>0.24231711701832617</c:v>
                </c:pt>
                <c:pt idx="1410">
                  <c:v>0.23988204754364678</c:v>
                </c:pt>
                <c:pt idx="1411">
                  <c:v>0.23959579828281019</c:v>
                </c:pt>
                <c:pt idx="1412">
                  <c:v>0.23063246079930133</c:v>
                </c:pt>
                <c:pt idx="1413">
                  <c:v>0.23570629742572055</c:v>
                </c:pt>
                <c:pt idx="1414">
                  <c:v>0.24565549255549016</c:v>
                </c:pt>
                <c:pt idx="1415">
                  <c:v>0.24846791411597344</c:v>
                </c:pt>
                <c:pt idx="1416">
                  <c:v>0.25008911390412414</c:v>
                </c:pt>
                <c:pt idx="1417">
                  <c:v>0.27043861039350109</c:v>
                </c:pt>
                <c:pt idx="1418">
                  <c:v>0.27194769097040644</c:v>
                </c:pt>
                <c:pt idx="1419">
                  <c:v>0.2688439350705541</c:v>
                </c:pt>
                <c:pt idx="1420">
                  <c:v>0.25788160673747462</c:v>
                </c:pt>
                <c:pt idx="1421">
                  <c:v>0.27176332936909031</c:v>
                </c:pt>
                <c:pt idx="1422">
                  <c:v>0.27385448732789269</c:v>
                </c:pt>
                <c:pt idx="1423">
                  <c:v>0.29306312216774089</c:v>
                </c:pt>
                <c:pt idx="1424">
                  <c:v>0.30893033332200553</c:v>
                </c:pt>
                <c:pt idx="1425">
                  <c:v>0.30921384849935346</c:v>
                </c:pt>
                <c:pt idx="1426">
                  <c:v>0.30913039259868924</c:v>
                </c:pt>
                <c:pt idx="1427">
                  <c:v>0.31805224436586266</c:v>
                </c:pt>
                <c:pt idx="1428">
                  <c:v>0.31217302072833103</c:v>
                </c:pt>
                <c:pt idx="1429">
                  <c:v>0.33423881667243782</c:v>
                </c:pt>
                <c:pt idx="1430">
                  <c:v>0.3370435196034946</c:v>
                </c:pt>
                <c:pt idx="1431">
                  <c:v>0.33713176221507279</c:v>
                </c:pt>
                <c:pt idx="1432">
                  <c:v>0.34065200012302088</c:v>
                </c:pt>
                <c:pt idx="1433">
                  <c:v>0.34529410274612804</c:v>
                </c:pt>
                <c:pt idx="1434">
                  <c:v>0.34289247516624899</c:v>
                </c:pt>
                <c:pt idx="1435">
                  <c:v>0.35303836742040867</c:v>
                </c:pt>
                <c:pt idx="1436">
                  <c:v>0.35274770263476141</c:v>
                </c:pt>
                <c:pt idx="1437">
                  <c:v>0.35721191063486257</c:v>
                </c:pt>
                <c:pt idx="1438">
                  <c:v>0.35371042289378113</c:v>
                </c:pt>
                <c:pt idx="1439">
                  <c:v>0.35816881415013574</c:v>
                </c:pt>
                <c:pt idx="1440">
                  <c:v>0.35487251003614784</c:v>
                </c:pt>
                <c:pt idx="1441">
                  <c:v>0.35985057002015036</c:v>
                </c:pt>
                <c:pt idx="1442">
                  <c:v>0.36010996649195853</c:v>
                </c:pt>
                <c:pt idx="1443">
                  <c:v>0.35929380791472382</c:v>
                </c:pt>
                <c:pt idx="1444">
                  <c:v>0.36985417979349339</c:v>
                </c:pt>
                <c:pt idx="1445">
                  <c:v>0.3689981975139342</c:v>
                </c:pt>
                <c:pt idx="1446">
                  <c:v>0.36611345058702138</c:v>
                </c:pt>
                <c:pt idx="1447">
                  <c:v>0.36235182870141108</c:v>
                </c:pt>
                <c:pt idx="1448">
                  <c:v>0.37012622370706216</c:v>
                </c:pt>
                <c:pt idx="1449">
                  <c:v>0.35575028788403523</c:v>
                </c:pt>
                <c:pt idx="1450">
                  <c:v>0.35670106387315803</c:v>
                </c:pt>
                <c:pt idx="1451">
                  <c:v>0.35779595599417141</c:v>
                </c:pt>
                <c:pt idx="1452">
                  <c:v>0.36521345600227295</c:v>
                </c:pt>
                <c:pt idx="1453">
                  <c:v>0.36421015094191667</c:v>
                </c:pt>
                <c:pt idx="1454">
                  <c:v>0.35136664613218127</c:v>
                </c:pt>
                <c:pt idx="1455">
                  <c:v>0.33115660060483409</c:v>
                </c:pt>
                <c:pt idx="1456">
                  <c:v>0.33375012652732572</c:v>
                </c:pt>
                <c:pt idx="1457">
                  <c:v>0.33363371413120568</c:v>
                </c:pt>
                <c:pt idx="1458">
                  <c:v>0.32810385266381492</c:v>
                </c:pt>
                <c:pt idx="1459">
                  <c:v>0.32753987041956079</c:v>
                </c:pt>
                <c:pt idx="1460">
                  <c:v>0.30564778037489082</c:v>
                </c:pt>
                <c:pt idx="1461">
                  <c:v>0.30326049107365927</c:v>
                </c:pt>
                <c:pt idx="1462">
                  <c:v>0.30098489360570629</c:v>
                </c:pt>
                <c:pt idx="1463">
                  <c:v>0.31191774006905038</c:v>
                </c:pt>
                <c:pt idx="1464">
                  <c:v>0.3099035931272453</c:v>
                </c:pt>
                <c:pt idx="1465">
                  <c:v>0.31283373113209761</c:v>
                </c:pt>
                <c:pt idx="1466">
                  <c:v>0.29919214778037423</c:v>
                </c:pt>
                <c:pt idx="1467">
                  <c:v>0.30088486588169017</c:v>
                </c:pt>
                <c:pt idx="1468">
                  <c:v>0.29554005154126034</c:v>
                </c:pt>
                <c:pt idx="1469">
                  <c:v>0.2950551173556446</c:v>
                </c:pt>
                <c:pt idx="1470">
                  <c:v>0.29094618837484998</c:v>
                </c:pt>
                <c:pt idx="1471">
                  <c:v>0.30370098681082347</c:v>
                </c:pt>
                <c:pt idx="1472">
                  <c:v>0.30993878851744</c:v>
                </c:pt>
                <c:pt idx="1473">
                  <c:v>0.30913708292854492</c:v>
                </c:pt>
                <c:pt idx="1474">
                  <c:v>0.31464459801367983</c:v>
                </c:pt>
                <c:pt idx="1475">
                  <c:v>0.30202615458685539</c:v>
                </c:pt>
                <c:pt idx="1476">
                  <c:v>0.29614872570465722</c:v>
                </c:pt>
                <c:pt idx="1477">
                  <c:v>0.29593873239874735</c:v>
                </c:pt>
                <c:pt idx="1478">
                  <c:v>0.2998334879514622</c:v>
                </c:pt>
                <c:pt idx="1479">
                  <c:v>0.28013902670092083</c:v>
                </c:pt>
                <c:pt idx="1480">
                  <c:v>0.27352861146939861</c:v>
                </c:pt>
                <c:pt idx="1481">
                  <c:v>0.27197189754946344</c:v>
                </c:pt>
                <c:pt idx="1482">
                  <c:v>0.26484344943097271</c:v>
                </c:pt>
                <c:pt idx="1483">
                  <c:v>0.24984055780264741</c:v>
                </c:pt>
                <c:pt idx="1484">
                  <c:v>0.2583865615972944</c:v>
                </c:pt>
                <c:pt idx="1485">
                  <c:v>0.29038196370308089</c:v>
                </c:pt>
                <c:pt idx="1486">
                  <c:v>0.29225819887162979</c:v>
                </c:pt>
                <c:pt idx="1487">
                  <c:v>0.2895833234112124</c:v>
                </c:pt>
                <c:pt idx="1488">
                  <c:v>0.2992480901538403</c:v>
                </c:pt>
                <c:pt idx="1489">
                  <c:v>0.30074354352335136</c:v>
                </c:pt>
                <c:pt idx="1490">
                  <c:v>0.30059776279483047</c:v>
                </c:pt>
                <c:pt idx="1491">
                  <c:v>0.29286443175722182</c:v>
                </c:pt>
                <c:pt idx="1492">
                  <c:v>0.29373652610395679</c:v>
                </c:pt>
                <c:pt idx="1493">
                  <c:v>0.31052138339439167</c:v>
                </c:pt>
                <c:pt idx="1494">
                  <c:v>0.29778960378267016</c:v>
                </c:pt>
                <c:pt idx="1495">
                  <c:v>0.28993795083458446</c:v>
                </c:pt>
                <c:pt idx="1496">
                  <c:v>0.28613232275137901</c:v>
                </c:pt>
                <c:pt idx="1497">
                  <c:v>0.28663696932839633</c:v>
                </c:pt>
                <c:pt idx="1498">
                  <c:v>0.29160573496587794</c:v>
                </c:pt>
                <c:pt idx="1499">
                  <c:v>0.29007101826659554</c:v>
                </c:pt>
                <c:pt idx="1500">
                  <c:v>0.29006708131815961</c:v>
                </c:pt>
                <c:pt idx="1501">
                  <c:v>0.29272684850075004</c:v>
                </c:pt>
                <c:pt idx="1502">
                  <c:v>0.27636058964424282</c:v>
                </c:pt>
                <c:pt idx="1503">
                  <c:v>0.26909889852619401</c:v>
                </c:pt>
                <c:pt idx="1504">
                  <c:v>0.27571153134737503</c:v>
                </c:pt>
                <c:pt idx="1505">
                  <c:v>0.27970197700244409</c:v>
                </c:pt>
                <c:pt idx="1506">
                  <c:v>0.2700128863295912</c:v>
                </c:pt>
                <c:pt idx="1507">
                  <c:v>0.27095875335300451</c:v>
                </c:pt>
                <c:pt idx="1508">
                  <c:v>0.27183595073404998</c:v>
                </c:pt>
                <c:pt idx="1509">
                  <c:v>0.26719173367040328</c:v>
                </c:pt>
                <c:pt idx="1510">
                  <c:v>0.26348566007934526</c:v>
                </c:pt>
                <c:pt idx="1511">
                  <c:v>0.26529101304407599</c:v>
                </c:pt>
                <c:pt idx="1512">
                  <c:v>0.26675711150377907</c:v>
                </c:pt>
                <c:pt idx="1513">
                  <c:v>0.29982045813451952</c:v>
                </c:pt>
                <c:pt idx="1514">
                  <c:v>0.29661040480000667</c:v>
                </c:pt>
                <c:pt idx="1515">
                  <c:v>0.29451048731655072</c:v>
                </c:pt>
                <c:pt idx="1516">
                  <c:v>0.26612635794920164</c:v>
                </c:pt>
                <c:pt idx="1517">
                  <c:v>0.26770027834243254</c:v>
                </c:pt>
                <c:pt idx="1518">
                  <c:v>0.27624857851072138</c:v>
                </c:pt>
                <c:pt idx="1519">
                  <c:v>0.26577010530686535</c:v>
                </c:pt>
                <c:pt idx="1520">
                  <c:v>0.27568148969994238</c:v>
                </c:pt>
                <c:pt idx="1521">
                  <c:v>0.27629260287792329</c:v>
                </c:pt>
                <c:pt idx="1522">
                  <c:v>0.27333347952229659</c:v>
                </c:pt>
                <c:pt idx="1523">
                  <c:v>0.27418597129918243</c:v>
                </c:pt>
                <c:pt idx="1524">
                  <c:v>0.25886648159236764</c:v>
                </c:pt>
                <c:pt idx="1525">
                  <c:v>0.26596091908905956</c:v>
                </c:pt>
                <c:pt idx="1526">
                  <c:v>0.26847497816957533</c:v>
                </c:pt>
                <c:pt idx="1527">
                  <c:v>0.2718296572410942</c:v>
                </c:pt>
                <c:pt idx="1528">
                  <c:v>0.27161739561431325</c:v>
                </c:pt>
                <c:pt idx="1529">
                  <c:v>0.26655463628380094</c:v>
                </c:pt>
                <c:pt idx="1530">
                  <c:v>0.26671795637835577</c:v>
                </c:pt>
                <c:pt idx="1531">
                  <c:v>0.28572563731685657</c:v>
                </c:pt>
                <c:pt idx="1532">
                  <c:v>0.28150073149179339</c:v>
                </c:pt>
                <c:pt idx="1533">
                  <c:v>0.28319938668175548</c:v>
                </c:pt>
                <c:pt idx="1534">
                  <c:v>0.28458805215144256</c:v>
                </c:pt>
                <c:pt idx="1535">
                  <c:v>0.28630365614214059</c:v>
                </c:pt>
                <c:pt idx="1536">
                  <c:v>0.27942005248073853</c:v>
                </c:pt>
                <c:pt idx="1537">
                  <c:v>0.27933357614181514</c:v>
                </c:pt>
                <c:pt idx="1538">
                  <c:v>0.28262303623502572</c:v>
                </c:pt>
                <c:pt idx="1539">
                  <c:v>0.28361675790794333</c:v>
                </c:pt>
                <c:pt idx="1540">
                  <c:v>0.28689842684233918</c:v>
                </c:pt>
                <c:pt idx="1541">
                  <c:v>0.28046837895709659</c:v>
                </c:pt>
                <c:pt idx="1542">
                  <c:v>0.2799110527589932</c:v>
                </c:pt>
                <c:pt idx="1543">
                  <c:v>0.27629941310053019</c:v>
                </c:pt>
                <c:pt idx="1544">
                  <c:v>0.25546885997530577</c:v>
                </c:pt>
                <c:pt idx="1545">
                  <c:v>0.25633021985497245</c:v>
                </c:pt>
                <c:pt idx="1546">
                  <c:v>0.25675218478862782</c:v>
                </c:pt>
                <c:pt idx="1547">
                  <c:v>0.25848891414578928</c:v>
                </c:pt>
                <c:pt idx="1548">
                  <c:v>0.25093558673823807</c:v>
                </c:pt>
                <c:pt idx="1549">
                  <c:v>0.24304311713064583</c:v>
                </c:pt>
                <c:pt idx="1550">
                  <c:v>0.26111557693548454</c:v>
                </c:pt>
                <c:pt idx="1551">
                  <c:v>0.2430733197442882</c:v>
                </c:pt>
                <c:pt idx="1552">
                  <c:v>0.25223774576105273</c:v>
                </c:pt>
                <c:pt idx="1553">
                  <c:v>0.25225570335755904</c:v>
                </c:pt>
                <c:pt idx="1554">
                  <c:v>0.2500579671534468</c:v>
                </c:pt>
                <c:pt idx="1555">
                  <c:v>0.25224836129681805</c:v>
                </c:pt>
                <c:pt idx="1556">
                  <c:v>0.25807182239302917</c:v>
                </c:pt>
                <c:pt idx="1557">
                  <c:v>0.2566788244132997</c:v>
                </c:pt>
                <c:pt idx="1558">
                  <c:v>0.25494724571893945</c:v>
                </c:pt>
                <c:pt idx="1559">
                  <c:v>0.26582876296161528</c:v>
                </c:pt>
                <c:pt idx="1560">
                  <c:v>0.27670724736203911</c:v>
                </c:pt>
                <c:pt idx="1561">
                  <c:v>0.27633982923256695</c:v>
                </c:pt>
                <c:pt idx="1562">
                  <c:v>0.2550403177284255</c:v>
                </c:pt>
                <c:pt idx="1563">
                  <c:v>0.2560145905521618</c:v>
                </c:pt>
                <c:pt idx="1564">
                  <c:v>0.2554015279928365</c:v>
                </c:pt>
                <c:pt idx="1565">
                  <c:v>0.25719189867307513</c:v>
                </c:pt>
                <c:pt idx="1566">
                  <c:v>0.2430354990049782</c:v>
                </c:pt>
                <c:pt idx="1567">
                  <c:v>0.23340485275821801</c:v>
                </c:pt>
                <c:pt idx="1568">
                  <c:v>0.23466710342533009</c:v>
                </c:pt>
                <c:pt idx="1569">
                  <c:v>0.23440214925524705</c:v>
                </c:pt>
                <c:pt idx="1570">
                  <c:v>0.24984195706470896</c:v>
                </c:pt>
                <c:pt idx="1571">
                  <c:v>0.25169787787133496</c:v>
                </c:pt>
                <c:pt idx="1572">
                  <c:v>0.25173633099360304</c:v>
                </c:pt>
                <c:pt idx="1573">
                  <c:v>0.26624415739892121</c:v>
                </c:pt>
                <c:pt idx="1574">
                  <c:v>0.26619099588600981</c:v>
                </c:pt>
                <c:pt idx="1575">
                  <c:v>0.26484814401523243</c:v>
                </c:pt>
                <c:pt idx="1576">
                  <c:v>0.26467933218877637</c:v>
                </c:pt>
                <c:pt idx="1577">
                  <c:v>0.26498037479585212</c:v>
                </c:pt>
                <c:pt idx="1578">
                  <c:v>0.27240763051630112</c:v>
                </c:pt>
                <c:pt idx="1579">
                  <c:v>0.27357267570245181</c:v>
                </c:pt>
                <c:pt idx="1580">
                  <c:v>0.29144331180136029</c:v>
                </c:pt>
                <c:pt idx="1581">
                  <c:v>0.27732877530290845</c:v>
                </c:pt>
                <c:pt idx="1582">
                  <c:v>0.29183251070334743</c:v>
                </c:pt>
                <c:pt idx="1583">
                  <c:v>0.28210178988311885</c:v>
                </c:pt>
                <c:pt idx="1584">
                  <c:v>0.29197314014365261</c:v>
                </c:pt>
                <c:pt idx="1585">
                  <c:v>0.29087043620439024</c:v>
                </c:pt>
                <c:pt idx="1586">
                  <c:v>0.2895059187550047</c:v>
                </c:pt>
                <c:pt idx="1587">
                  <c:v>0.28587602350052793</c:v>
                </c:pt>
                <c:pt idx="1588">
                  <c:v>0.28514873681182251</c:v>
                </c:pt>
                <c:pt idx="1589">
                  <c:v>0.28563753065255992</c:v>
                </c:pt>
                <c:pt idx="1590">
                  <c:v>0.27883804355454211</c:v>
                </c:pt>
                <c:pt idx="1591">
                  <c:v>0.26738815446304887</c:v>
                </c:pt>
                <c:pt idx="1592">
                  <c:v>0.28638293605882426</c:v>
                </c:pt>
                <c:pt idx="1593">
                  <c:v>0.28302473421494678</c:v>
                </c:pt>
                <c:pt idx="1594">
                  <c:v>0.29540642983500937</c:v>
                </c:pt>
                <c:pt idx="1595">
                  <c:v>0.29866412145763888</c:v>
                </c:pt>
                <c:pt idx="1596">
                  <c:v>0.29136978523756218</c:v>
                </c:pt>
                <c:pt idx="1597">
                  <c:v>0.29011751859571328</c:v>
                </c:pt>
                <c:pt idx="1598">
                  <c:v>0.30327272808625411</c:v>
                </c:pt>
                <c:pt idx="1599">
                  <c:v>0.30252528061757078</c:v>
                </c:pt>
                <c:pt idx="1600">
                  <c:v>0.29793221598008135</c:v>
                </c:pt>
                <c:pt idx="1601">
                  <c:v>0.288898601288131</c:v>
                </c:pt>
                <c:pt idx="1602">
                  <c:v>0.29765776147120815</c:v>
                </c:pt>
                <c:pt idx="1603">
                  <c:v>0.30352276898009917</c:v>
                </c:pt>
                <c:pt idx="1604">
                  <c:v>0.29605502998323596</c:v>
                </c:pt>
                <c:pt idx="1605">
                  <c:v>0.29688659106582788</c:v>
                </c:pt>
                <c:pt idx="1606">
                  <c:v>0.29935525288764003</c:v>
                </c:pt>
                <c:pt idx="1607">
                  <c:v>0.30132158546685728</c:v>
                </c:pt>
                <c:pt idx="1608">
                  <c:v>0.29861037029784943</c:v>
                </c:pt>
                <c:pt idx="1609">
                  <c:v>0.29042535514333101</c:v>
                </c:pt>
                <c:pt idx="1610">
                  <c:v>0.31327832591812982</c:v>
                </c:pt>
                <c:pt idx="1611">
                  <c:v>0.30347032053720258</c:v>
                </c:pt>
                <c:pt idx="1612">
                  <c:v>0.30517154235683136</c:v>
                </c:pt>
                <c:pt idx="1613">
                  <c:v>0.31069353851203979</c:v>
                </c:pt>
                <c:pt idx="1614">
                  <c:v>0.31379675149873509</c:v>
                </c:pt>
                <c:pt idx="1615">
                  <c:v>0.31732764696545629</c:v>
                </c:pt>
                <c:pt idx="1616">
                  <c:v>0.31753403040606371</c:v>
                </c:pt>
                <c:pt idx="1617">
                  <c:v>0.31942995548233799</c:v>
                </c:pt>
                <c:pt idx="1618">
                  <c:v>0.31918930512523974</c:v>
                </c:pt>
                <c:pt idx="1619">
                  <c:v>0.32710066626929374</c:v>
                </c:pt>
                <c:pt idx="1620">
                  <c:v>0.33055192607493561</c:v>
                </c:pt>
                <c:pt idx="1621">
                  <c:v>0.3367799302301604</c:v>
                </c:pt>
                <c:pt idx="1622">
                  <c:v>0.33808458606563802</c:v>
                </c:pt>
                <c:pt idx="1623">
                  <c:v>0.31275064276558751</c:v>
                </c:pt>
                <c:pt idx="1624">
                  <c:v>0.31240376653223861</c:v>
                </c:pt>
                <c:pt idx="1625">
                  <c:v>0.30661161722501329</c:v>
                </c:pt>
                <c:pt idx="1626">
                  <c:v>0.29630370472154882</c:v>
                </c:pt>
                <c:pt idx="1627">
                  <c:v>0.29752229247297857</c:v>
                </c:pt>
                <c:pt idx="1628">
                  <c:v>0.30014611244068329</c:v>
                </c:pt>
                <c:pt idx="1629">
                  <c:v>0.30405775679665265</c:v>
                </c:pt>
                <c:pt idx="1630">
                  <c:v>0.30395743960093696</c:v>
                </c:pt>
                <c:pt idx="1631">
                  <c:v>0.31703766168062741</c:v>
                </c:pt>
                <c:pt idx="1632">
                  <c:v>0.3065525904111755</c:v>
                </c:pt>
                <c:pt idx="1633">
                  <c:v>0.30280783277586376</c:v>
                </c:pt>
                <c:pt idx="1634">
                  <c:v>0.30178423791816739</c:v>
                </c:pt>
                <c:pt idx="1635">
                  <c:v>0.30104244145066172</c:v>
                </c:pt>
                <c:pt idx="1636">
                  <c:v>0.30865436275420544</c:v>
                </c:pt>
                <c:pt idx="1637">
                  <c:v>0.31179817960702244</c:v>
                </c:pt>
                <c:pt idx="1638">
                  <c:v>0.31143173942679353</c:v>
                </c:pt>
                <c:pt idx="1639">
                  <c:v>0.31262002419546397</c:v>
                </c:pt>
                <c:pt idx="1640">
                  <c:v>0.3118478912622884</c:v>
                </c:pt>
                <c:pt idx="1641">
                  <c:v>0.294966061293298</c:v>
                </c:pt>
                <c:pt idx="1642">
                  <c:v>0.29070594600964766</c:v>
                </c:pt>
                <c:pt idx="1643">
                  <c:v>0.28722100601396311</c:v>
                </c:pt>
                <c:pt idx="1644">
                  <c:v>0.26979229173308844</c:v>
                </c:pt>
                <c:pt idx="1645">
                  <c:v>0.27819784235330125</c:v>
                </c:pt>
                <c:pt idx="1646">
                  <c:v>0.26015131863453383</c:v>
                </c:pt>
                <c:pt idx="1647">
                  <c:v>0.25938873388847355</c:v>
                </c:pt>
                <c:pt idx="1648">
                  <c:v>0.26199561793645237</c:v>
                </c:pt>
                <c:pt idx="1649">
                  <c:v>0.26200994021407037</c:v>
                </c:pt>
                <c:pt idx="1650">
                  <c:v>0.24810532121626158</c:v>
                </c:pt>
                <c:pt idx="1651">
                  <c:v>0.23945412625345189</c:v>
                </c:pt>
                <c:pt idx="1652">
                  <c:v>0.23811269620469833</c:v>
                </c:pt>
                <c:pt idx="1653">
                  <c:v>0.24449947916334067</c:v>
                </c:pt>
                <c:pt idx="1654">
                  <c:v>0.25815744858692546</c:v>
                </c:pt>
                <c:pt idx="1655">
                  <c:v>0.2658193309162159</c:v>
                </c:pt>
                <c:pt idx="1656">
                  <c:v>0.26722149152485181</c:v>
                </c:pt>
                <c:pt idx="1657">
                  <c:v>0.27385350655657936</c:v>
                </c:pt>
                <c:pt idx="1658">
                  <c:v>0.26830014426454535</c:v>
                </c:pt>
                <c:pt idx="1659">
                  <c:v>0.25510494667251432</c:v>
                </c:pt>
                <c:pt idx="1660">
                  <c:v>0.2760547420778508</c:v>
                </c:pt>
                <c:pt idx="1661">
                  <c:v>0.27656312612317208</c:v>
                </c:pt>
                <c:pt idx="1662">
                  <c:v>0.27300269506804542</c:v>
                </c:pt>
                <c:pt idx="1663">
                  <c:v>0.27550765896226315</c:v>
                </c:pt>
                <c:pt idx="1664">
                  <c:v>0.27565208795068735</c:v>
                </c:pt>
                <c:pt idx="1665">
                  <c:v>0.28408178370768766</c:v>
                </c:pt>
                <c:pt idx="1666">
                  <c:v>0.28072958752600474</c:v>
                </c:pt>
                <c:pt idx="1667">
                  <c:v>0.28300054931770752</c:v>
                </c:pt>
                <c:pt idx="1668">
                  <c:v>0.28255971949349895</c:v>
                </c:pt>
                <c:pt idx="1669">
                  <c:v>0.28255381910182181</c:v>
                </c:pt>
                <c:pt idx="1670">
                  <c:v>0.27902986546132619</c:v>
                </c:pt>
                <c:pt idx="1671">
                  <c:v>0.2847187868406959</c:v>
                </c:pt>
                <c:pt idx="1672">
                  <c:v>0.28507266782123203</c:v>
                </c:pt>
                <c:pt idx="1673">
                  <c:v>0.28391969072496109</c:v>
                </c:pt>
                <c:pt idx="1674">
                  <c:v>0.29111785724017181</c:v>
                </c:pt>
                <c:pt idx="1675">
                  <c:v>0.29204487673607499</c:v>
                </c:pt>
                <c:pt idx="1676">
                  <c:v>0.28182643588954642</c:v>
                </c:pt>
                <c:pt idx="1677">
                  <c:v>0.28559334817131632</c:v>
                </c:pt>
                <c:pt idx="1678">
                  <c:v>0.29152068009147181</c:v>
                </c:pt>
                <c:pt idx="1679">
                  <c:v>0.28707929129085619</c:v>
                </c:pt>
                <c:pt idx="1680">
                  <c:v>0.28228099754369712</c:v>
                </c:pt>
                <c:pt idx="1681">
                  <c:v>0.28577993822981179</c:v>
                </c:pt>
                <c:pt idx="1682">
                  <c:v>0.28795985456361611</c:v>
                </c:pt>
                <c:pt idx="1683">
                  <c:v>0.28255273263158825</c:v>
                </c:pt>
                <c:pt idx="1684">
                  <c:v>0.27967471528483606</c:v>
                </c:pt>
                <c:pt idx="1685">
                  <c:v>0.26487645915277891</c:v>
                </c:pt>
                <c:pt idx="1686">
                  <c:v>0.25844630287125875</c:v>
                </c:pt>
                <c:pt idx="1687">
                  <c:v>0.26072058482114635</c:v>
                </c:pt>
                <c:pt idx="1688">
                  <c:v>0.25761030795974488</c:v>
                </c:pt>
                <c:pt idx="1689">
                  <c:v>0.26546777484228018</c:v>
                </c:pt>
                <c:pt idx="1690">
                  <c:v>0.28466358592856633</c:v>
                </c:pt>
                <c:pt idx="1691">
                  <c:v>0.26932453953737195</c:v>
                </c:pt>
                <c:pt idx="1692">
                  <c:v>0.27163938732076714</c:v>
                </c:pt>
                <c:pt idx="1693">
                  <c:v>0.29147852363667692</c:v>
                </c:pt>
                <c:pt idx="1694">
                  <c:v>0.29243536120636199</c:v>
                </c:pt>
                <c:pt idx="1695">
                  <c:v>0.29225624133421912</c:v>
                </c:pt>
                <c:pt idx="1696">
                  <c:v>0.29201609637498788</c:v>
                </c:pt>
                <c:pt idx="1697">
                  <c:v>0.30308702854908109</c:v>
                </c:pt>
                <c:pt idx="1698">
                  <c:v>0.29757618331844438</c:v>
                </c:pt>
                <c:pt idx="1699">
                  <c:v>0.36463362929916937</c:v>
                </c:pt>
                <c:pt idx="1700">
                  <c:v>0.41245711702108095</c:v>
                </c:pt>
                <c:pt idx="1701">
                  <c:v>0.44479445892566005</c:v>
                </c:pt>
                <c:pt idx="1702">
                  <c:v>0.46148113493366238</c:v>
                </c:pt>
                <c:pt idx="1703">
                  <c:v>0.48701432519086096</c:v>
                </c:pt>
                <c:pt idx="1704">
                  <c:v>0.49992317032538819</c:v>
                </c:pt>
                <c:pt idx="1705">
                  <c:v>0.52064570307664193</c:v>
                </c:pt>
                <c:pt idx="1706">
                  <c:v>0.5391445469278926</c:v>
                </c:pt>
                <c:pt idx="1707">
                  <c:v>0.55092095743929037</c:v>
                </c:pt>
                <c:pt idx="1708">
                  <c:v>0.54789515492368812</c:v>
                </c:pt>
                <c:pt idx="1709">
                  <c:v>0.54027083250112307</c:v>
                </c:pt>
                <c:pt idx="1710">
                  <c:v>0.54415420848148355</c:v>
                </c:pt>
                <c:pt idx="1711">
                  <c:v>0.54958685411459696</c:v>
                </c:pt>
                <c:pt idx="1712">
                  <c:v>0.55696988555049687</c:v>
                </c:pt>
                <c:pt idx="1713">
                  <c:v>0.55314241709789413</c:v>
                </c:pt>
                <c:pt idx="1714">
                  <c:v>0.54841129195056282</c:v>
                </c:pt>
                <c:pt idx="1715">
                  <c:v>0.54804814679592218</c:v>
                </c:pt>
                <c:pt idx="1716">
                  <c:v>0.54650003103616174</c:v>
                </c:pt>
                <c:pt idx="1717">
                  <c:v>0.53989913839787051</c:v>
                </c:pt>
                <c:pt idx="1718">
                  <c:v>0.53422962646804761</c:v>
                </c:pt>
                <c:pt idx="1719">
                  <c:v>0.52259156812159469</c:v>
                </c:pt>
                <c:pt idx="1720">
                  <c:v>0.48527495300240769</c:v>
                </c:pt>
                <c:pt idx="1721">
                  <c:v>0.48479694550226249</c:v>
                </c:pt>
                <c:pt idx="1722">
                  <c:v>0.46522615728729511</c:v>
                </c:pt>
                <c:pt idx="1723">
                  <c:v>0.45866461989873203</c:v>
                </c:pt>
                <c:pt idx="1724">
                  <c:v>0.45822729187231875</c:v>
                </c:pt>
                <c:pt idx="1725">
                  <c:v>0.41586594579842856</c:v>
                </c:pt>
                <c:pt idx="1726">
                  <c:v>0.35197533429236882</c:v>
                </c:pt>
                <c:pt idx="1727">
                  <c:v>0.33570268917700014</c:v>
                </c:pt>
                <c:pt idx="1728">
                  <c:v>0.21788764431206969</c:v>
                </c:pt>
                <c:pt idx="1729">
                  <c:v>0.17708681665432791</c:v>
                </c:pt>
                <c:pt idx="1730">
                  <c:v>0.18434079134618084</c:v>
                </c:pt>
                <c:pt idx="1731">
                  <c:v>0.18234607215948848</c:v>
                </c:pt>
                <c:pt idx="1732">
                  <c:v>0.18223651443567204</c:v>
                </c:pt>
                <c:pt idx="1733">
                  <c:v>0.18192511976416884</c:v>
                </c:pt>
                <c:pt idx="1734">
                  <c:v>0.18294299728814289</c:v>
                </c:pt>
                <c:pt idx="1735">
                  <c:v>0.18421022745074808</c:v>
                </c:pt>
                <c:pt idx="1736">
                  <c:v>0.18080818675380955</c:v>
                </c:pt>
                <c:pt idx="1737">
                  <c:v>0.18248118536511435</c:v>
                </c:pt>
                <c:pt idx="1738">
                  <c:v>0.18816706432866676</c:v>
                </c:pt>
                <c:pt idx="1739">
                  <c:v>0.18556216041637183</c:v>
                </c:pt>
                <c:pt idx="1740">
                  <c:v>0.18431179289520169</c:v>
                </c:pt>
                <c:pt idx="1741">
                  <c:v>0.18196562597889057</c:v>
                </c:pt>
                <c:pt idx="1742">
                  <c:v>0.18698398292168075</c:v>
                </c:pt>
                <c:pt idx="1743">
                  <c:v>0.26840648310171544</c:v>
                </c:pt>
                <c:pt idx="1744">
                  <c:v>0.37539040411482966</c:v>
                </c:pt>
                <c:pt idx="1745">
                  <c:v>0.41185622357219726</c:v>
                </c:pt>
                <c:pt idx="1746">
                  <c:v>0.46137959615182178</c:v>
                </c:pt>
                <c:pt idx="1747">
                  <c:v>0.48594324031998587</c:v>
                </c:pt>
                <c:pt idx="1748">
                  <c:v>0.50269812305949246</c:v>
                </c:pt>
                <c:pt idx="1749">
                  <c:v>0.49407516530640372</c:v>
                </c:pt>
                <c:pt idx="1750">
                  <c:v>0.49972315266767608</c:v>
                </c:pt>
                <c:pt idx="1751">
                  <c:v>0.50238176479770091</c:v>
                </c:pt>
                <c:pt idx="1752">
                  <c:v>0.53039199481516719</c:v>
                </c:pt>
                <c:pt idx="1753">
                  <c:v>0.53409504042676859</c:v>
                </c:pt>
                <c:pt idx="1754">
                  <c:v>0.54757030617927871</c:v>
                </c:pt>
                <c:pt idx="1755">
                  <c:v>0.55262214827173273</c:v>
                </c:pt>
                <c:pt idx="1756">
                  <c:v>0.56567822727491368</c:v>
                </c:pt>
                <c:pt idx="1757">
                  <c:v>0.56374466409187285</c:v>
                </c:pt>
                <c:pt idx="1758">
                  <c:v>0.56526300462378587</c:v>
                </c:pt>
                <c:pt idx="1759">
                  <c:v>0.55418559292202507</c:v>
                </c:pt>
                <c:pt idx="1760">
                  <c:v>0.54586181573547055</c:v>
                </c:pt>
                <c:pt idx="1761">
                  <c:v>0.55677025870474761</c:v>
                </c:pt>
                <c:pt idx="1762">
                  <c:v>0.54628751892683425</c:v>
                </c:pt>
                <c:pt idx="1763">
                  <c:v>0.5386388839259596</c:v>
                </c:pt>
                <c:pt idx="1764">
                  <c:v>0.5337996176195845</c:v>
                </c:pt>
                <c:pt idx="1765">
                  <c:v>0.51984914182925779</c:v>
                </c:pt>
                <c:pt idx="1766">
                  <c:v>0.50076350363170719</c:v>
                </c:pt>
                <c:pt idx="1767">
                  <c:v>0.47507374710229738</c:v>
                </c:pt>
                <c:pt idx="1768">
                  <c:v>0.44343727314729425</c:v>
                </c:pt>
                <c:pt idx="1769">
                  <c:v>0.43346483647505718</c:v>
                </c:pt>
                <c:pt idx="1770">
                  <c:v>0.40871932389607962</c:v>
                </c:pt>
                <c:pt idx="1771">
                  <c:v>0.38501915114112067</c:v>
                </c:pt>
                <c:pt idx="1772">
                  <c:v>0.35943156601763548</c:v>
                </c:pt>
                <c:pt idx="1773">
                  <c:v>0.27828128780900163</c:v>
                </c:pt>
                <c:pt idx="1774">
                  <c:v>0.28124070791599171</c:v>
                </c:pt>
                <c:pt idx="1775">
                  <c:v>0.26896598761835555</c:v>
                </c:pt>
                <c:pt idx="1776">
                  <c:v>0.28117235501396393</c:v>
                </c:pt>
                <c:pt idx="1777">
                  <c:v>0.27489027523688048</c:v>
                </c:pt>
                <c:pt idx="1778">
                  <c:v>0.29640490573226708</c:v>
                </c:pt>
                <c:pt idx="1779">
                  <c:v>0.29645567750646629</c:v>
                </c:pt>
                <c:pt idx="1780">
                  <c:v>0.27707661590292626</c:v>
                </c:pt>
                <c:pt idx="1781">
                  <c:v>0.27699999261680042</c:v>
                </c:pt>
                <c:pt idx="1782">
                  <c:v>0.2761456079448687</c:v>
                </c:pt>
                <c:pt idx="1783">
                  <c:v>0.27765679605259347</c:v>
                </c:pt>
                <c:pt idx="1784">
                  <c:v>0.2982573988748719</c:v>
                </c:pt>
                <c:pt idx="1785">
                  <c:v>0.29608451907891598</c:v>
                </c:pt>
                <c:pt idx="1786">
                  <c:v>0.31759732937816582</c:v>
                </c:pt>
                <c:pt idx="1787">
                  <c:v>0.31402134177158131</c:v>
                </c:pt>
                <c:pt idx="1788">
                  <c:v>0.31212012833468517</c:v>
                </c:pt>
                <c:pt idx="1789">
                  <c:v>0.32858326831013279</c:v>
                </c:pt>
                <c:pt idx="1790">
                  <c:v>0.35177723041142511</c:v>
                </c:pt>
                <c:pt idx="1791">
                  <c:v>0.35920509097651049</c:v>
                </c:pt>
                <c:pt idx="1792">
                  <c:v>0.36368967624773701</c:v>
                </c:pt>
                <c:pt idx="1793">
                  <c:v>0.37061882020669251</c:v>
                </c:pt>
                <c:pt idx="1794">
                  <c:v>0.37145562695448625</c:v>
                </c:pt>
                <c:pt idx="1795">
                  <c:v>0.37101096138742795</c:v>
                </c:pt>
                <c:pt idx="1796">
                  <c:v>0.36710995007084773</c:v>
                </c:pt>
                <c:pt idx="1797">
                  <c:v>0.36574258682411037</c:v>
                </c:pt>
                <c:pt idx="1798">
                  <c:v>0.35891628486846061</c:v>
                </c:pt>
                <c:pt idx="1799">
                  <c:v>0.35833600031021029</c:v>
                </c:pt>
                <c:pt idx="1800">
                  <c:v>0.35903762451306853</c:v>
                </c:pt>
                <c:pt idx="1801">
                  <c:v>0.35869466847178838</c:v>
                </c:pt>
                <c:pt idx="1802">
                  <c:v>0.36278321223818788</c:v>
                </c:pt>
                <c:pt idx="1803">
                  <c:v>0.35076432237946087</c:v>
                </c:pt>
                <c:pt idx="1804">
                  <c:v>0.35520400637416488</c:v>
                </c:pt>
                <c:pt idx="1805">
                  <c:v>0.35459993379069094</c:v>
                </c:pt>
                <c:pt idx="1806">
                  <c:v>0.34972165933829291</c:v>
                </c:pt>
                <c:pt idx="1807">
                  <c:v>0.34278959088865801</c:v>
                </c:pt>
                <c:pt idx="1808">
                  <c:v>0.34310989378317791</c:v>
                </c:pt>
                <c:pt idx="1809">
                  <c:v>0.32490362039117499</c:v>
                </c:pt>
                <c:pt idx="1810">
                  <c:v>0.324946178761639</c:v>
                </c:pt>
                <c:pt idx="1811">
                  <c:v>0.3273445649198603</c:v>
                </c:pt>
                <c:pt idx="1812">
                  <c:v>0.33384435251138578</c:v>
                </c:pt>
                <c:pt idx="1813">
                  <c:v>0.33312136794236208</c:v>
                </c:pt>
                <c:pt idx="1814">
                  <c:v>0.34176442964335091</c:v>
                </c:pt>
                <c:pt idx="1815">
                  <c:v>0.33146890563512038</c:v>
                </c:pt>
                <c:pt idx="1816">
                  <c:v>0.33571915329842467</c:v>
                </c:pt>
                <c:pt idx="1817">
                  <c:v>0.31708795501044335</c:v>
                </c:pt>
                <c:pt idx="1818">
                  <c:v>0.31672855654011733</c:v>
                </c:pt>
                <c:pt idx="1819">
                  <c:v>0.32270201886694116</c:v>
                </c:pt>
                <c:pt idx="1820">
                  <c:v>0.31548131424410059</c:v>
                </c:pt>
                <c:pt idx="1821">
                  <c:v>0.31044188942311896</c:v>
                </c:pt>
                <c:pt idx="1822">
                  <c:v>0.30672240221071806</c:v>
                </c:pt>
                <c:pt idx="1823">
                  <c:v>0.29514737097100086</c:v>
                </c:pt>
                <c:pt idx="1824">
                  <c:v>0.28805180981476519</c:v>
                </c:pt>
                <c:pt idx="1825">
                  <c:v>0.2908563549694308</c:v>
                </c:pt>
                <c:pt idx="1826">
                  <c:v>0.29390658425558003</c:v>
                </c:pt>
                <c:pt idx="1827">
                  <c:v>0.26967721912100751</c:v>
                </c:pt>
                <c:pt idx="1828">
                  <c:v>0.27337727618542473</c:v>
                </c:pt>
                <c:pt idx="1829">
                  <c:v>0.27273568978386559</c:v>
                </c:pt>
                <c:pt idx="1830">
                  <c:v>0.27295146015179467</c:v>
                </c:pt>
                <c:pt idx="1831">
                  <c:v>0.27553609525741851</c:v>
                </c:pt>
                <c:pt idx="1832">
                  <c:v>0.27471653273274671</c:v>
                </c:pt>
                <c:pt idx="1833">
                  <c:v>0.27235735383795201</c:v>
                </c:pt>
                <c:pt idx="1834">
                  <c:v>0.2727532279652814</c:v>
                </c:pt>
                <c:pt idx="1835">
                  <c:v>0.27425622760460067</c:v>
                </c:pt>
                <c:pt idx="1836">
                  <c:v>0.27751415980229954</c:v>
                </c:pt>
                <c:pt idx="1837">
                  <c:v>0.27670877012184336</c:v>
                </c:pt>
                <c:pt idx="1838">
                  <c:v>0.27543099747272498</c:v>
                </c:pt>
                <c:pt idx="1839">
                  <c:v>0.27461803978593174</c:v>
                </c:pt>
                <c:pt idx="1840">
                  <c:v>0.28711878793431439</c:v>
                </c:pt>
                <c:pt idx="1841">
                  <c:v>0.2872289691418759</c:v>
                </c:pt>
                <c:pt idx="1842">
                  <c:v>0.2907234594069199</c:v>
                </c:pt>
                <c:pt idx="1843">
                  <c:v>0.28420939470194345</c:v>
                </c:pt>
                <c:pt idx="1844">
                  <c:v>0.29865694617161692</c:v>
                </c:pt>
                <c:pt idx="1845">
                  <c:v>0.28961987020603752</c:v>
                </c:pt>
                <c:pt idx="1846">
                  <c:v>0.27848406138996484</c:v>
                </c:pt>
                <c:pt idx="1847">
                  <c:v>0.28696030387960297</c:v>
                </c:pt>
                <c:pt idx="1848">
                  <c:v>0.28638558398003461</c:v>
                </c:pt>
                <c:pt idx="1849">
                  <c:v>0.29659588397622677</c:v>
                </c:pt>
                <c:pt idx="1850">
                  <c:v>0.30826913788537358</c:v>
                </c:pt>
                <c:pt idx="1851">
                  <c:v>0.310150869799109</c:v>
                </c:pt>
                <c:pt idx="1852">
                  <c:v>0.30849798840086845</c:v>
                </c:pt>
                <c:pt idx="1853">
                  <c:v>0.31859158553766448</c:v>
                </c:pt>
                <c:pt idx="1854">
                  <c:v>0.32080403345972458</c:v>
                </c:pt>
                <c:pt idx="1855">
                  <c:v>0.32077443288407209</c:v>
                </c:pt>
                <c:pt idx="1856">
                  <c:v>0.32339931623951162</c:v>
                </c:pt>
                <c:pt idx="1857">
                  <c:v>0.33624832808588057</c:v>
                </c:pt>
                <c:pt idx="1858">
                  <c:v>0.35409636987479193</c:v>
                </c:pt>
                <c:pt idx="1859">
                  <c:v>0.34939644965182026</c:v>
                </c:pt>
                <c:pt idx="1860">
                  <c:v>0.35054274153381404</c:v>
                </c:pt>
                <c:pt idx="1861">
                  <c:v>0.37570871337839717</c:v>
                </c:pt>
                <c:pt idx="1862">
                  <c:v>0.37896052196355751</c:v>
                </c:pt>
                <c:pt idx="1863">
                  <c:v>0.37822656287282302</c:v>
                </c:pt>
                <c:pt idx="1864">
                  <c:v>0.38187070158693387</c:v>
                </c:pt>
                <c:pt idx="1865">
                  <c:v>0.38264615545624375</c:v>
                </c:pt>
                <c:pt idx="1866">
                  <c:v>0.38998258864492397</c:v>
                </c:pt>
                <c:pt idx="1867">
                  <c:v>0.38795430037417999</c:v>
                </c:pt>
                <c:pt idx="1868">
                  <c:v>0.38944088663758858</c:v>
                </c:pt>
                <c:pt idx="1869">
                  <c:v>0.39876743335251791</c:v>
                </c:pt>
                <c:pt idx="1870">
                  <c:v>0.3983449344172702</c:v>
                </c:pt>
                <c:pt idx="1871">
                  <c:v>0.38687690117715567</c:v>
                </c:pt>
                <c:pt idx="1872">
                  <c:v>0.40301150512933009</c:v>
                </c:pt>
                <c:pt idx="1873">
                  <c:v>0.41339474847758195</c:v>
                </c:pt>
                <c:pt idx="1874">
                  <c:v>0.41328639318547383</c:v>
                </c:pt>
                <c:pt idx="1875">
                  <c:v>0.41213297258346765</c:v>
                </c:pt>
                <c:pt idx="1876">
                  <c:v>0.40650626285250474</c:v>
                </c:pt>
                <c:pt idx="1877">
                  <c:v>0.40652363365351302</c:v>
                </c:pt>
                <c:pt idx="1878">
                  <c:v>0.39994410163448435</c:v>
                </c:pt>
                <c:pt idx="1879">
                  <c:v>0.40389655357109933</c:v>
                </c:pt>
                <c:pt idx="1880">
                  <c:v>0.39614539742909943</c:v>
                </c:pt>
                <c:pt idx="1881">
                  <c:v>0.39424393521906281</c:v>
                </c:pt>
                <c:pt idx="1882">
                  <c:v>0.37720072961262729</c:v>
                </c:pt>
                <c:pt idx="1883">
                  <c:v>0.388202411077605</c:v>
                </c:pt>
                <c:pt idx="1884">
                  <c:v>0.38512786501880836</c:v>
                </c:pt>
                <c:pt idx="1885">
                  <c:v>0.39598696906925629</c:v>
                </c:pt>
                <c:pt idx="1886">
                  <c:v>0.40228702740067329</c:v>
                </c:pt>
                <c:pt idx="1887">
                  <c:v>0.43204382152522935</c:v>
                </c:pt>
                <c:pt idx="1888">
                  <c:v>0.43355558615383089</c:v>
                </c:pt>
                <c:pt idx="1889">
                  <c:v>0.44650224809517514</c:v>
                </c:pt>
                <c:pt idx="1890">
                  <c:v>0.47976658621924578</c:v>
                </c:pt>
                <c:pt idx="1891">
                  <c:v>0.49108768940041236</c:v>
                </c:pt>
                <c:pt idx="1892">
                  <c:v>0.49111817019722315</c:v>
                </c:pt>
                <c:pt idx="1893">
                  <c:v>0.48898262068257486</c:v>
                </c:pt>
                <c:pt idx="1894">
                  <c:v>0.50279609844831141</c:v>
                </c:pt>
                <c:pt idx="1895">
                  <c:v>0.48939414002055753</c:v>
                </c:pt>
                <c:pt idx="1896">
                  <c:v>0.48927124551208784</c:v>
                </c:pt>
                <c:pt idx="1897">
                  <c:v>0.49458430292863759</c:v>
                </c:pt>
                <c:pt idx="1898">
                  <c:v>0.50167489427950496</c:v>
                </c:pt>
                <c:pt idx="1899">
                  <c:v>0.50680042811934334</c:v>
                </c:pt>
                <c:pt idx="1900">
                  <c:v>0.51491549927977143</c:v>
                </c:pt>
                <c:pt idx="1901">
                  <c:v>0.52541228237235948</c:v>
                </c:pt>
                <c:pt idx="1902">
                  <c:v>0.528795904541696</c:v>
                </c:pt>
                <c:pt idx="1903">
                  <c:v>0.50572752878193949</c:v>
                </c:pt>
                <c:pt idx="1904">
                  <c:v>0.46853497065927308</c:v>
                </c:pt>
                <c:pt idx="1905">
                  <c:v>0.45994950033694498</c:v>
                </c:pt>
                <c:pt idx="1906">
                  <c:v>0.41698932898492685</c:v>
                </c:pt>
                <c:pt idx="1907">
                  <c:v>0.40952308992442277</c:v>
                </c:pt>
                <c:pt idx="1908">
                  <c:v>0.38785197790372744</c:v>
                </c:pt>
                <c:pt idx="1909">
                  <c:v>0.37531429046711612</c:v>
                </c:pt>
                <c:pt idx="1910">
                  <c:v>0.36673002697224771</c:v>
                </c:pt>
                <c:pt idx="1911">
                  <c:v>0.33745366681140682</c:v>
                </c:pt>
                <c:pt idx="1912">
                  <c:v>0.33430911694951393</c:v>
                </c:pt>
                <c:pt idx="1913">
                  <c:v>0.30761223013279926</c:v>
                </c:pt>
                <c:pt idx="1914">
                  <c:v>0.31345378573474897</c:v>
                </c:pt>
                <c:pt idx="1915">
                  <c:v>0.19969341852786662</c:v>
                </c:pt>
                <c:pt idx="1916">
                  <c:v>0.18969498407530128</c:v>
                </c:pt>
                <c:pt idx="1917">
                  <c:v>0.16937201193181836</c:v>
                </c:pt>
                <c:pt idx="1918">
                  <c:v>0.183130152954813</c:v>
                </c:pt>
                <c:pt idx="1919">
                  <c:v>0.18213605959303106</c:v>
                </c:pt>
                <c:pt idx="1920">
                  <c:v>0.18275180385450157</c:v>
                </c:pt>
                <c:pt idx="1921">
                  <c:v>0.19029301668854817</c:v>
                </c:pt>
                <c:pt idx="1922">
                  <c:v>0.19107793211946478</c:v>
                </c:pt>
                <c:pt idx="1923">
                  <c:v>0.19096738077727718</c:v>
                </c:pt>
                <c:pt idx="1924">
                  <c:v>0.18906192551914008</c:v>
                </c:pt>
                <c:pt idx="1925">
                  <c:v>0.1929570376512009</c:v>
                </c:pt>
                <c:pt idx="1926">
                  <c:v>0.18975388334811533</c:v>
                </c:pt>
                <c:pt idx="1927">
                  <c:v>0.19086374017320698</c:v>
                </c:pt>
                <c:pt idx="1928">
                  <c:v>0.19305914521942141</c:v>
                </c:pt>
                <c:pt idx="1929">
                  <c:v>0.18941647079745644</c:v>
                </c:pt>
                <c:pt idx="1930">
                  <c:v>0.19008349389785265</c:v>
                </c:pt>
                <c:pt idx="1931">
                  <c:v>0.20006911746061681</c:v>
                </c:pt>
                <c:pt idx="1932">
                  <c:v>0.26062580603516033</c:v>
                </c:pt>
                <c:pt idx="1933">
                  <c:v>0.28745206075149327</c:v>
                </c:pt>
                <c:pt idx="1934">
                  <c:v>0.34148515578242966</c:v>
                </c:pt>
                <c:pt idx="1935">
                  <c:v>0.39276431721607419</c:v>
                </c:pt>
                <c:pt idx="1936">
                  <c:v>0.3968587855482163</c:v>
                </c:pt>
                <c:pt idx="1937">
                  <c:v>0.42793918231424544</c:v>
                </c:pt>
                <c:pt idx="1938">
                  <c:v>0.46707934749469182</c:v>
                </c:pt>
                <c:pt idx="1939">
                  <c:v>0.48564529460829092</c:v>
                </c:pt>
                <c:pt idx="1940">
                  <c:v>0.48954811721790192</c:v>
                </c:pt>
                <c:pt idx="1941">
                  <c:v>0.52150238071986821</c:v>
                </c:pt>
                <c:pt idx="1942">
                  <c:v>0.54420719135114037</c:v>
                </c:pt>
                <c:pt idx="1943">
                  <c:v>0.55028666584275454</c:v>
                </c:pt>
                <c:pt idx="1944">
                  <c:v>0.56622602891096219</c:v>
                </c:pt>
                <c:pt idx="1945">
                  <c:v>0.55295476130632348</c:v>
                </c:pt>
                <c:pt idx="1946">
                  <c:v>0.54643624347755415</c:v>
                </c:pt>
                <c:pt idx="1947">
                  <c:v>0.56226854934235138</c:v>
                </c:pt>
                <c:pt idx="1948">
                  <c:v>0.57754066045555774</c:v>
                </c:pt>
                <c:pt idx="1949">
                  <c:v>0.56264361877174207</c:v>
                </c:pt>
                <c:pt idx="1950">
                  <c:v>0.54261975236517146</c:v>
                </c:pt>
                <c:pt idx="1951">
                  <c:v>0.52752637488680176</c:v>
                </c:pt>
                <c:pt idx="1952">
                  <c:v>0.5233841876491121</c:v>
                </c:pt>
                <c:pt idx="1953">
                  <c:v>0.51723689898126091</c:v>
                </c:pt>
                <c:pt idx="1954">
                  <c:v>0.51023757729355779</c:v>
                </c:pt>
                <c:pt idx="1955">
                  <c:v>0.48537325761185973</c:v>
                </c:pt>
                <c:pt idx="1956">
                  <c:v>0.4533403428509275</c:v>
                </c:pt>
                <c:pt idx="1957">
                  <c:v>0.42636276165257908</c:v>
                </c:pt>
                <c:pt idx="1958">
                  <c:v>0.39528971172812183</c:v>
                </c:pt>
                <c:pt idx="1959">
                  <c:v>0.37559512261861383</c:v>
                </c:pt>
                <c:pt idx="1960">
                  <c:v>0.34424102195415351</c:v>
                </c:pt>
                <c:pt idx="1961">
                  <c:v>0.31170879275360569</c:v>
                </c:pt>
                <c:pt idx="1962">
                  <c:v>0.28357720885744864</c:v>
                </c:pt>
                <c:pt idx="1963">
                  <c:v>0.29118279528933982</c:v>
                </c:pt>
                <c:pt idx="1964">
                  <c:v>0.32041096681321646</c:v>
                </c:pt>
                <c:pt idx="1965">
                  <c:v>0.32595417449629488</c:v>
                </c:pt>
                <c:pt idx="1966">
                  <c:v>0.32672854966613052</c:v>
                </c:pt>
                <c:pt idx="1967">
                  <c:v>0.3129002642280686</c:v>
                </c:pt>
                <c:pt idx="1968">
                  <c:v>0.31378634525120958</c:v>
                </c:pt>
                <c:pt idx="1969">
                  <c:v>0.31154429201761014</c:v>
                </c:pt>
                <c:pt idx="1970">
                  <c:v>0.32882836299071116</c:v>
                </c:pt>
                <c:pt idx="1971">
                  <c:v>0.32630089141238655</c:v>
                </c:pt>
                <c:pt idx="1972">
                  <c:v>0.32455045454584835</c:v>
                </c:pt>
                <c:pt idx="1973">
                  <c:v>0.32348213840524198</c:v>
                </c:pt>
                <c:pt idx="1974">
                  <c:v>0.32166918917921539</c:v>
                </c:pt>
                <c:pt idx="1975">
                  <c:v>0.32183286397488337</c:v>
                </c:pt>
                <c:pt idx="1976">
                  <c:v>0.31859033197475861</c:v>
                </c:pt>
                <c:pt idx="1977">
                  <c:v>0.32812606859955329</c:v>
                </c:pt>
                <c:pt idx="1978">
                  <c:v>0.33158913926110634</c:v>
                </c:pt>
                <c:pt idx="1979">
                  <c:v>0.33552720920909668</c:v>
                </c:pt>
                <c:pt idx="1980">
                  <c:v>0.34022287047553468</c:v>
                </c:pt>
                <c:pt idx="1981">
                  <c:v>0.34723469348318481</c:v>
                </c:pt>
                <c:pt idx="1982">
                  <c:v>0.34800062967431006</c:v>
                </c:pt>
                <c:pt idx="1983">
                  <c:v>0.34105642911145528</c:v>
                </c:pt>
                <c:pt idx="1984">
                  <c:v>0.34266320829127533</c:v>
                </c:pt>
                <c:pt idx="1985">
                  <c:v>0.34361323279796258</c:v>
                </c:pt>
                <c:pt idx="1986">
                  <c:v>0.33282286602164263</c:v>
                </c:pt>
                <c:pt idx="1987">
                  <c:v>0.33981513631003324</c:v>
                </c:pt>
                <c:pt idx="1988">
                  <c:v>0.33981513631003329</c:v>
                </c:pt>
                <c:pt idx="1989">
                  <c:v>0.33329737399023907</c:v>
                </c:pt>
                <c:pt idx="1990">
                  <c:v>0.33290406213036644</c:v>
                </c:pt>
                <c:pt idx="1991">
                  <c:v>0.31374419011969262</c:v>
                </c:pt>
                <c:pt idx="1992">
                  <c:v>0.31729109324906618</c:v>
                </c:pt>
                <c:pt idx="1993">
                  <c:v>0.31685135890599953</c:v>
                </c:pt>
                <c:pt idx="1994">
                  <c:v>0.30850447523421237</c:v>
                </c:pt>
                <c:pt idx="1995">
                  <c:v>0.28046461007756873</c:v>
                </c:pt>
                <c:pt idx="1996">
                  <c:v>0.30577512828585585</c:v>
                </c:pt>
                <c:pt idx="1997">
                  <c:v>0.30518912538203469</c:v>
                </c:pt>
                <c:pt idx="1998">
                  <c:v>0.30489155611613827</c:v>
                </c:pt>
                <c:pt idx="1999">
                  <c:v>0.30923078869779924</c:v>
                </c:pt>
                <c:pt idx="2000">
                  <c:v>0.30827190547703942</c:v>
                </c:pt>
                <c:pt idx="2001">
                  <c:v>0.29925918392315737</c:v>
                </c:pt>
                <c:pt idx="2002">
                  <c:v>0.30823020864458761</c:v>
                </c:pt>
                <c:pt idx="2003">
                  <c:v>0.30733942871063602</c:v>
                </c:pt>
                <c:pt idx="2004">
                  <c:v>0.307322920049722</c:v>
                </c:pt>
                <c:pt idx="2005">
                  <c:v>0.30968955986378821</c:v>
                </c:pt>
                <c:pt idx="2006">
                  <c:v>0.31256228321978602</c:v>
                </c:pt>
                <c:pt idx="2007">
                  <c:v>0.31607502494622242</c:v>
                </c:pt>
                <c:pt idx="2008">
                  <c:v>0.30679988886501003</c:v>
                </c:pt>
                <c:pt idx="2009">
                  <c:v>0.30363120581285019</c:v>
                </c:pt>
                <c:pt idx="2010">
                  <c:v>0.30019074331378676</c:v>
                </c:pt>
                <c:pt idx="2011">
                  <c:v>0.29399567617178196</c:v>
                </c:pt>
                <c:pt idx="2012">
                  <c:v>0.2883513361351322</c:v>
                </c:pt>
                <c:pt idx="2013">
                  <c:v>0.29566696397459435</c:v>
                </c:pt>
                <c:pt idx="2014">
                  <c:v>0.2957014716899517</c:v>
                </c:pt>
                <c:pt idx="2015">
                  <c:v>0.29737746784274299</c:v>
                </c:pt>
                <c:pt idx="2016">
                  <c:v>0.31600121343665682</c:v>
                </c:pt>
                <c:pt idx="2017">
                  <c:v>0.31739688393017912</c:v>
                </c:pt>
                <c:pt idx="2018">
                  <c:v>0.3105018556806719</c:v>
                </c:pt>
                <c:pt idx="2019">
                  <c:v>0.31131148279624277</c:v>
                </c:pt>
                <c:pt idx="2020">
                  <c:v>0.3150054607256641</c:v>
                </c:pt>
                <c:pt idx="2021">
                  <c:v>0.31544522502258321</c:v>
                </c:pt>
                <c:pt idx="2022">
                  <c:v>0.31542455803066677</c:v>
                </c:pt>
                <c:pt idx="2023">
                  <c:v>0.30508139242810389</c:v>
                </c:pt>
                <c:pt idx="2024">
                  <c:v>0.32371481392338486</c:v>
                </c:pt>
                <c:pt idx="2025">
                  <c:v>0.33962909502861177</c:v>
                </c:pt>
                <c:pt idx="2026">
                  <c:v>0.34773120949562869</c:v>
                </c:pt>
                <c:pt idx="2027">
                  <c:v>0.33157242962186656</c:v>
                </c:pt>
                <c:pt idx="2028">
                  <c:v>0.3380156259642334</c:v>
                </c:pt>
                <c:pt idx="2029">
                  <c:v>0.34251768653214282</c:v>
                </c:pt>
                <c:pt idx="2030">
                  <c:v>0.34062157271161475</c:v>
                </c:pt>
                <c:pt idx="2031">
                  <c:v>0.34194127320090256</c:v>
                </c:pt>
                <c:pt idx="2032">
                  <c:v>0.33436676003796673</c:v>
                </c:pt>
                <c:pt idx="2033">
                  <c:v>0.31739435630858148</c:v>
                </c:pt>
                <c:pt idx="2034">
                  <c:v>0.31546603672098444</c:v>
                </c:pt>
                <c:pt idx="2035">
                  <c:v>0.31751431360905069</c:v>
                </c:pt>
                <c:pt idx="2036">
                  <c:v>0.31271176082083246</c:v>
                </c:pt>
                <c:pt idx="2037">
                  <c:v>0.33065438844646561</c:v>
                </c:pt>
                <c:pt idx="2038">
                  <c:v>0.32825227200765927</c:v>
                </c:pt>
                <c:pt idx="2039">
                  <c:v>0.32153627116207212</c:v>
                </c:pt>
                <c:pt idx="2040">
                  <c:v>0.31879036953186979</c:v>
                </c:pt>
                <c:pt idx="2041">
                  <c:v>0.31066599465321987</c:v>
                </c:pt>
                <c:pt idx="2042">
                  <c:v>0.30731512102512343</c:v>
                </c:pt>
                <c:pt idx="2043">
                  <c:v>0.31673245513453441</c:v>
                </c:pt>
                <c:pt idx="2044">
                  <c:v>0.31181102995334337</c:v>
                </c:pt>
                <c:pt idx="2045">
                  <c:v>0.31165585271916846</c:v>
                </c:pt>
                <c:pt idx="2046">
                  <c:v>0.31771027316101252</c:v>
                </c:pt>
                <c:pt idx="2047">
                  <c:v>0.30579541982519992</c:v>
                </c:pt>
                <c:pt idx="2048">
                  <c:v>0.30669653181882817</c:v>
                </c:pt>
                <c:pt idx="2049">
                  <c:v>0.30933202163222023</c:v>
                </c:pt>
                <c:pt idx="2050">
                  <c:v>0.31889286960970326</c:v>
                </c:pt>
                <c:pt idx="2051">
                  <c:v>0.31471232683258182</c:v>
                </c:pt>
                <c:pt idx="2052">
                  <c:v>0.31854504549653073</c:v>
                </c:pt>
                <c:pt idx="2053">
                  <c:v>0.32744410656419576</c:v>
                </c:pt>
                <c:pt idx="2054">
                  <c:v>0.33648155678523384</c:v>
                </c:pt>
                <c:pt idx="2055">
                  <c:v>0.31700476071846284</c:v>
                </c:pt>
                <c:pt idx="2056">
                  <c:v>0.29334726270670886</c:v>
                </c:pt>
                <c:pt idx="2057">
                  <c:v>0.29631849284457312</c:v>
                </c:pt>
                <c:pt idx="2058">
                  <c:v>0.27863117274405741</c:v>
                </c:pt>
                <c:pt idx="2059">
                  <c:v>0.29006024814323295</c:v>
                </c:pt>
                <c:pt idx="2060">
                  <c:v>0.28840838987043288</c:v>
                </c:pt>
                <c:pt idx="2061">
                  <c:v>0.28716804864413192</c:v>
                </c:pt>
                <c:pt idx="2062">
                  <c:v>0.29099002725105733</c:v>
                </c:pt>
                <c:pt idx="2063">
                  <c:v>0.29282351565873144</c:v>
                </c:pt>
                <c:pt idx="2064">
                  <c:v>0.29769532428997914</c:v>
                </c:pt>
                <c:pt idx="2065">
                  <c:v>0.29770697729866952</c:v>
                </c:pt>
                <c:pt idx="2066">
                  <c:v>0.29587247952893236</c:v>
                </c:pt>
                <c:pt idx="2067">
                  <c:v>0.29886772733380979</c:v>
                </c:pt>
                <c:pt idx="2068">
                  <c:v>0.27386818615807446</c:v>
                </c:pt>
                <c:pt idx="2069">
                  <c:v>0.27437234366052249</c:v>
                </c:pt>
                <c:pt idx="2070">
                  <c:v>0.27165467489776585</c:v>
                </c:pt>
                <c:pt idx="2071">
                  <c:v>0.25972830878473591</c:v>
                </c:pt>
                <c:pt idx="2072">
                  <c:v>0.26180899357402132</c:v>
                </c:pt>
                <c:pt idx="2073">
                  <c:v>0.26788254470190065</c:v>
                </c:pt>
                <c:pt idx="2074">
                  <c:v>0.26214180597718395</c:v>
                </c:pt>
                <c:pt idx="2075">
                  <c:v>0.26045566728311659</c:v>
                </c:pt>
                <c:pt idx="2076">
                  <c:v>0.2608768070766152</c:v>
                </c:pt>
                <c:pt idx="2077">
                  <c:v>0.25956234323023208</c:v>
                </c:pt>
                <c:pt idx="2078">
                  <c:v>0.25811206726229113</c:v>
                </c:pt>
                <c:pt idx="2079">
                  <c:v>0.25307283544196402</c:v>
                </c:pt>
                <c:pt idx="2080">
                  <c:v>0.24762619447362078</c:v>
                </c:pt>
                <c:pt idx="2081">
                  <c:v>0.24141975000437879</c:v>
                </c:pt>
                <c:pt idx="2082">
                  <c:v>0.24685503859056016</c:v>
                </c:pt>
                <c:pt idx="2083">
                  <c:v>0.24682975813272842</c:v>
                </c:pt>
                <c:pt idx="2084">
                  <c:v>0.26001864176341494</c:v>
                </c:pt>
                <c:pt idx="2085">
                  <c:v>0.23726235547039817</c:v>
                </c:pt>
                <c:pt idx="2086">
                  <c:v>0.25097003463271755</c:v>
                </c:pt>
                <c:pt idx="2087">
                  <c:v>0.26475889395654062</c:v>
                </c:pt>
                <c:pt idx="2088">
                  <c:v>0.2604080086981318</c:v>
                </c:pt>
                <c:pt idx="2089">
                  <c:v>0.26077759458023647</c:v>
                </c:pt>
                <c:pt idx="2090">
                  <c:v>0.25161503533745089</c:v>
                </c:pt>
                <c:pt idx="2091">
                  <c:v>0.25236805103108201</c:v>
                </c:pt>
                <c:pt idx="2092">
                  <c:v>0.2526001509052655</c:v>
                </c:pt>
                <c:pt idx="2093">
                  <c:v>0.2655653239482651</c:v>
                </c:pt>
                <c:pt idx="2094">
                  <c:v>0.26922084576569577</c:v>
                </c:pt>
                <c:pt idx="2095">
                  <c:v>0.2701441681576715</c:v>
                </c:pt>
                <c:pt idx="2096">
                  <c:v>0.27162486927436702</c:v>
                </c:pt>
                <c:pt idx="2097">
                  <c:v>0.28239470487924634</c:v>
                </c:pt>
                <c:pt idx="2098">
                  <c:v>0.28305867330464574</c:v>
                </c:pt>
                <c:pt idx="2099">
                  <c:v>0.2964357767121103</c:v>
                </c:pt>
                <c:pt idx="2100">
                  <c:v>0.30490465024056229</c:v>
                </c:pt>
                <c:pt idx="2101">
                  <c:v>0.30745848673210857</c:v>
                </c:pt>
                <c:pt idx="2102">
                  <c:v>0.32735926665008125</c:v>
                </c:pt>
                <c:pt idx="2103">
                  <c:v>0.32906299966584091</c:v>
                </c:pt>
                <c:pt idx="2104">
                  <c:v>0.32884262437806816</c:v>
                </c:pt>
                <c:pt idx="2105">
                  <c:v>0.33770621469803769</c:v>
                </c:pt>
                <c:pt idx="2106">
                  <c:v>0.33841300628722643</c:v>
                </c:pt>
                <c:pt idx="2107">
                  <c:v>0.35226085339056967</c:v>
                </c:pt>
                <c:pt idx="2108">
                  <c:v>0.34577728086925613</c:v>
                </c:pt>
                <c:pt idx="2109">
                  <c:v>0.34096812751813427</c:v>
                </c:pt>
                <c:pt idx="2110">
                  <c:v>0.3443932076612275</c:v>
                </c:pt>
                <c:pt idx="2111">
                  <c:v>0.34490816679289321</c:v>
                </c:pt>
                <c:pt idx="2112">
                  <c:v>0.34944140975624921</c:v>
                </c:pt>
                <c:pt idx="2113">
                  <c:v>0.34796655696531287</c:v>
                </c:pt>
                <c:pt idx="2114">
                  <c:v>0.3502721431594904</c:v>
                </c:pt>
                <c:pt idx="2115">
                  <c:v>0.34024796504805727</c:v>
                </c:pt>
                <c:pt idx="2116">
                  <c:v>0.33994924536444848</c:v>
                </c:pt>
                <c:pt idx="2117">
                  <c:v>0.33040223906058414</c:v>
                </c:pt>
                <c:pt idx="2118">
                  <c:v>0.33197392551713628</c:v>
                </c:pt>
                <c:pt idx="2119">
                  <c:v>0.32803385987503436</c:v>
                </c:pt>
                <c:pt idx="2120">
                  <c:v>0.3275771322841205</c:v>
                </c:pt>
                <c:pt idx="2121">
                  <c:v>0.32785864987535496</c:v>
                </c:pt>
                <c:pt idx="2122">
                  <c:v>0.32664401212678268</c:v>
                </c:pt>
                <c:pt idx="2123">
                  <c:v>0.33429385152909125</c:v>
                </c:pt>
                <c:pt idx="2124">
                  <c:v>0.31133178988067772</c:v>
                </c:pt>
                <c:pt idx="2125">
                  <c:v>0.31179369045622474</c:v>
                </c:pt>
                <c:pt idx="2126">
                  <c:v>0.31246187352454347</c:v>
                </c:pt>
                <c:pt idx="2127">
                  <c:v>0.31364393060556189</c:v>
                </c:pt>
                <c:pt idx="2128">
                  <c:v>0.30523897293499752</c:v>
                </c:pt>
                <c:pt idx="2129">
                  <c:v>0.32288640441309169</c:v>
                </c:pt>
                <c:pt idx="2130">
                  <c:v>0.31263281058590792</c:v>
                </c:pt>
                <c:pt idx="2131">
                  <c:v>0.30683037209036967</c:v>
                </c:pt>
                <c:pt idx="2132">
                  <c:v>0.30284774826377775</c:v>
                </c:pt>
                <c:pt idx="2133">
                  <c:v>0.27580740885547617</c:v>
                </c:pt>
                <c:pt idx="2134">
                  <c:v>0.28251353964949216</c:v>
                </c:pt>
                <c:pt idx="2135">
                  <c:v>0.30095244230785134</c:v>
                </c:pt>
                <c:pt idx="2136">
                  <c:v>0.29461657415770792</c:v>
                </c:pt>
                <c:pt idx="2137">
                  <c:v>0.29500181742203585</c:v>
                </c:pt>
                <c:pt idx="2138">
                  <c:v>0.27640544716583265</c:v>
                </c:pt>
                <c:pt idx="2139">
                  <c:v>0.27477512556556616</c:v>
                </c:pt>
                <c:pt idx="2140">
                  <c:v>0.27233212570314475</c:v>
                </c:pt>
                <c:pt idx="2141">
                  <c:v>0.26934198099171491</c:v>
                </c:pt>
                <c:pt idx="2142">
                  <c:v>0.27441487287840693</c:v>
                </c:pt>
                <c:pt idx="2143">
                  <c:v>0.26780506001109633</c:v>
                </c:pt>
                <c:pt idx="2144">
                  <c:v>0.26514568036236935</c:v>
                </c:pt>
                <c:pt idx="2145">
                  <c:v>0.26981967714047406</c:v>
                </c:pt>
                <c:pt idx="2146">
                  <c:v>0.26498458133923497</c:v>
                </c:pt>
                <c:pt idx="2147">
                  <c:v>0.26550466665312611</c:v>
                </c:pt>
                <c:pt idx="2148">
                  <c:v>0.28956952919876355</c:v>
                </c:pt>
                <c:pt idx="2149">
                  <c:v>0.27286553303647398</c:v>
                </c:pt>
                <c:pt idx="2150">
                  <c:v>0.28232943800787919</c:v>
                </c:pt>
                <c:pt idx="2151">
                  <c:v>0.28140120691870052</c:v>
                </c:pt>
                <c:pt idx="2152">
                  <c:v>0.28319030413279184</c:v>
                </c:pt>
                <c:pt idx="2153">
                  <c:v>0.2836210225859454</c:v>
                </c:pt>
                <c:pt idx="2154">
                  <c:v>0.29605339737106445</c:v>
                </c:pt>
                <c:pt idx="2155">
                  <c:v>0.30426062864920933</c:v>
                </c:pt>
                <c:pt idx="2156">
                  <c:v>0.30366634986166252</c:v>
                </c:pt>
                <c:pt idx="2157">
                  <c:v>0.29962766932568974</c:v>
                </c:pt>
                <c:pt idx="2158">
                  <c:v>0.31483600044902793</c:v>
                </c:pt>
                <c:pt idx="2159">
                  <c:v>0.32664771970027079</c:v>
                </c:pt>
                <c:pt idx="2160">
                  <c:v>0.31149953158092059</c:v>
                </c:pt>
                <c:pt idx="2161">
                  <c:v>0.31149953158092053</c:v>
                </c:pt>
                <c:pt idx="2162">
                  <c:v>0.31094357606307571</c:v>
                </c:pt>
                <c:pt idx="2163">
                  <c:v>0.31567992502639597</c:v>
                </c:pt>
                <c:pt idx="2164">
                  <c:v>0.31409432854636848</c:v>
                </c:pt>
                <c:pt idx="2165">
                  <c:v>0.31022165750227543</c:v>
                </c:pt>
                <c:pt idx="2166">
                  <c:v>0.29963501677528231</c:v>
                </c:pt>
                <c:pt idx="2167">
                  <c:v>0.31260899119122698</c:v>
                </c:pt>
                <c:pt idx="2168">
                  <c:v>0.3209116068376347</c:v>
                </c:pt>
                <c:pt idx="2169">
                  <c:v>0.33512672761478518</c:v>
                </c:pt>
                <c:pt idx="2170">
                  <c:v>0.33828680113899212</c:v>
                </c:pt>
                <c:pt idx="2171">
                  <c:v>0.33980414253094404</c:v>
                </c:pt>
                <c:pt idx="2172">
                  <c:v>0.35243816790375576</c:v>
                </c:pt>
                <c:pt idx="2173">
                  <c:v>0.35375092671152675</c:v>
                </c:pt>
                <c:pt idx="2174">
                  <c:v>0.3535881927902203</c:v>
                </c:pt>
                <c:pt idx="2175">
                  <c:v>0.35790192523795789</c:v>
                </c:pt>
                <c:pt idx="2176">
                  <c:v>0.35180276577204866</c:v>
                </c:pt>
                <c:pt idx="2177">
                  <c:v>0.36462496942073952</c:v>
                </c:pt>
                <c:pt idx="2178">
                  <c:v>0.36352238807311904</c:v>
                </c:pt>
                <c:pt idx="2179">
                  <c:v>0.33722009652546703</c:v>
                </c:pt>
                <c:pt idx="2180">
                  <c:v>0.34947307262283078</c:v>
                </c:pt>
                <c:pt idx="2181">
                  <c:v>0.35254487573571797</c:v>
                </c:pt>
                <c:pt idx="2182">
                  <c:v>0.3512283776699871</c:v>
                </c:pt>
                <c:pt idx="2183">
                  <c:v>0.35436513300850203</c:v>
                </c:pt>
                <c:pt idx="2184">
                  <c:v>0.37214938437921541</c:v>
                </c:pt>
                <c:pt idx="2185">
                  <c:v>0.35520679743029776</c:v>
                </c:pt>
                <c:pt idx="2186">
                  <c:v>0.34794641672123428</c:v>
                </c:pt>
                <c:pt idx="2187">
                  <c:v>0.34810251064904213</c:v>
                </c:pt>
                <c:pt idx="2188">
                  <c:v>0.34974505418687019</c:v>
                </c:pt>
                <c:pt idx="2189">
                  <c:v>0.34549735987905478</c:v>
                </c:pt>
                <c:pt idx="2190">
                  <c:v>0.33860241375523797</c:v>
                </c:pt>
                <c:pt idx="2191">
                  <c:v>0.33488101596866476</c:v>
                </c:pt>
                <c:pt idx="2192">
                  <c:v>0.33057841502514151</c:v>
                </c:pt>
                <c:pt idx="2193">
                  <c:v>0.32361684886700293</c:v>
                </c:pt>
                <c:pt idx="2194">
                  <c:v>0.31752039832358148</c:v>
                </c:pt>
                <c:pt idx="2195">
                  <c:v>0.32278321239998442</c:v>
                </c:pt>
                <c:pt idx="2196">
                  <c:v>0.32184589831757676</c:v>
                </c:pt>
                <c:pt idx="2197">
                  <c:v>0.33402993986662927</c:v>
                </c:pt>
                <c:pt idx="2198">
                  <c:v>0.32679647590962468</c:v>
                </c:pt>
                <c:pt idx="2199">
                  <c:v>0.33469624027686351</c:v>
                </c:pt>
                <c:pt idx="2200">
                  <c:v>0.32560296202234967</c:v>
                </c:pt>
                <c:pt idx="2201">
                  <c:v>0.32995008205236248</c:v>
                </c:pt>
                <c:pt idx="2202">
                  <c:v>0.33836419162015408</c:v>
                </c:pt>
                <c:pt idx="2203">
                  <c:v>0.32831110604870545</c:v>
                </c:pt>
                <c:pt idx="2204">
                  <c:v>0.3248529493547993</c:v>
                </c:pt>
                <c:pt idx="2205">
                  <c:v>0.32734414978410514</c:v>
                </c:pt>
                <c:pt idx="2206">
                  <c:v>0.34363042794330018</c:v>
                </c:pt>
                <c:pt idx="2207">
                  <c:v>0.3438073106053442</c:v>
                </c:pt>
                <c:pt idx="2208">
                  <c:v>0.33095091515258596</c:v>
                </c:pt>
                <c:pt idx="2209">
                  <c:v>0.33220326783672288</c:v>
                </c:pt>
                <c:pt idx="2210">
                  <c:v>0.33258626032901473</c:v>
                </c:pt>
                <c:pt idx="2211">
                  <c:v>0.31732084259600829</c:v>
                </c:pt>
                <c:pt idx="2212">
                  <c:v>0.31329581045033111</c:v>
                </c:pt>
                <c:pt idx="2213">
                  <c:v>0.31632153234456462</c:v>
                </c:pt>
                <c:pt idx="2214">
                  <c:v>0.31085898077697877</c:v>
                </c:pt>
                <c:pt idx="2215">
                  <c:v>0.29844876145159593</c:v>
                </c:pt>
                <c:pt idx="2216">
                  <c:v>0.30205755849135085</c:v>
                </c:pt>
                <c:pt idx="2217">
                  <c:v>0.31978432424475178</c:v>
                </c:pt>
                <c:pt idx="2218">
                  <c:v>0.32880926986301129</c:v>
                </c:pt>
                <c:pt idx="2219">
                  <c:v>0.34101904943775502</c:v>
                </c:pt>
                <c:pt idx="2220">
                  <c:v>0.34031508734751531</c:v>
                </c:pt>
                <c:pt idx="2221">
                  <c:v>0.34379601293221568</c:v>
                </c:pt>
                <c:pt idx="2222">
                  <c:v>0.34380752047941943</c:v>
                </c:pt>
                <c:pt idx="2223">
                  <c:v>0.416272759441702</c:v>
                </c:pt>
                <c:pt idx="2224">
                  <c:v>0.46928696414253485</c:v>
                </c:pt>
                <c:pt idx="2225">
                  <c:v>0.53744295220052929</c:v>
                </c:pt>
                <c:pt idx="2226">
                  <c:v>0.55634338122507598</c:v>
                </c:pt>
                <c:pt idx="2227">
                  <c:v>0.59275447819076976</c:v>
                </c:pt>
                <c:pt idx="2228">
                  <c:v>0.62781208667165067</c:v>
                </c:pt>
                <c:pt idx="2229">
                  <c:v>0.67116911398120171</c:v>
                </c:pt>
                <c:pt idx="2230">
                  <c:v>0.66348485140004299</c:v>
                </c:pt>
                <c:pt idx="2231">
                  <c:v>0.66865191772555821</c:v>
                </c:pt>
                <c:pt idx="2232">
                  <c:v>0.69131978592459997</c:v>
                </c:pt>
                <c:pt idx="2233">
                  <c:v>0.70103184133041097</c:v>
                </c:pt>
                <c:pt idx="2234">
                  <c:v>0.69176524954784557</c:v>
                </c:pt>
                <c:pt idx="2235">
                  <c:v>0.69334774767438201</c:v>
                </c:pt>
                <c:pt idx="2236">
                  <c:v>0.67305125598592142</c:v>
                </c:pt>
                <c:pt idx="2237">
                  <c:v>0.70704301982296247</c:v>
                </c:pt>
                <c:pt idx="2238">
                  <c:v>0.7121418292064674</c:v>
                </c:pt>
                <c:pt idx="2239">
                  <c:v>0.70904489515225488</c:v>
                </c:pt>
                <c:pt idx="2240">
                  <c:v>0.68107945252237201</c:v>
                </c:pt>
                <c:pt idx="2241">
                  <c:v>0.67213112825283083</c:v>
                </c:pt>
                <c:pt idx="2242">
                  <c:v>0.66126783065034012</c:v>
                </c:pt>
                <c:pt idx="2243">
                  <c:v>0.61196881158249561</c:v>
                </c:pt>
                <c:pt idx="2244">
                  <c:v>0.5723826684861123</c:v>
                </c:pt>
                <c:pt idx="2245">
                  <c:v>0.53696005984800133</c:v>
                </c:pt>
                <c:pt idx="2246">
                  <c:v>0.47642590220040021</c:v>
                </c:pt>
                <c:pt idx="2247">
                  <c:v>0.47434402991209984</c:v>
                </c:pt>
                <c:pt idx="2248">
                  <c:v>0.46367316227783323</c:v>
                </c:pt>
                <c:pt idx="2249">
                  <c:v>0.44738695200190504</c:v>
                </c:pt>
                <c:pt idx="2250">
                  <c:v>0.43543492734558831</c:v>
                </c:pt>
                <c:pt idx="2251">
                  <c:v>0.39121279052877606</c:v>
                </c:pt>
                <c:pt idx="2252">
                  <c:v>0.37057747497480026</c:v>
                </c:pt>
                <c:pt idx="2253">
                  <c:v>0.29371818515354847</c:v>
                </c:pt>
                <c:pt idx="2254">
                  <c:v>0.29373048008855435</c:v>
                </c:pt>
                <c:pt idx="2255">
                  <c:v>0.29789459365503024</c:v>
                </c:pt>
                <c:pt idx="2256">
                  <c:v>0.29518956696627957</c:v>
                </c:pt>
                <c:pt idx="2257">
                  <c:v>0.29518956696627957</c:v>
                </c:pt>
                <c:pt idx="2258">
                  <c:v>0.29513845560802249</c:v>
                </c:pt>
                <c:pt idx="2259">
                  <c:v>0.29322117212571752</c:v>
                </c:pt>
                <c:pt idx="2260">
                  <c:v>0.28904931388606231</c:v>
                </c:pt>
                <c:pt idx="2261">
                  <c:v>0.29018774335841102</c:v>
                </c:pt>
                <c:pt idx="2262">
                  <c:v>0.29269455029702918</c:v>
                </c:pt>
                <c:pt idx="2263">
                  <c:v>0.29230015125820069</c:v>
                </c:pt>
                <c:pt idx="2264">
                  <c:v>0.2984998190988849</c:v>
                </c:pt>
                <c:pt idx="2265">
                  <c:v>0.29876177281578986</c:v>
                </c:pt>
                <c:pt idx="2266">
                  <c:v>0.45963245005465475</c:v>
                </c:pt>
                <c:pt idx="2267">
                  <c:v>0.56832830083908736</c:v>
                </c:pt>
                <c:pt idx="2268">
                  <c:v>0.73682001620203352</c:v>
                </c:pt>
                <c:pt idx="2269">
                  <c:v>0.8306516378113501</c:v>
                </c:pt>
                <c:pt idx="2270">
                  <c:v>0.90931314709819555</c:v>
                </c:pt>
                <c:pt idx="2271">
                  <c:v>0.96783865149416581</c:v>
                </c:pt>
                <c:pt idx="2272">
                  <c:v>1.0030230593842537</c:v>
                </c:pt>
                <c:pt idx="2273">
                  <c:v>1.0703741391987631</c:v>
                </c:pt>
                <c:pt idx="2274">
                  <c:v>1.1122526683370242</c:v>
                </c:pt>
                <c:pt idx="2275">
                  <c:v>1.4818899985240062</c:v>
                </c:pt>
                <c:pt idx="2276">
                  <c:v>1.7642731431371745</c:v>
                </c:pt>
                <c:pt idx="2277">
                  <c:v>1.9915279843949603</c:v>
                </c:pt>
                <c:pt idx="2278">
                  <c:v>2.1846379430665026</c:v>
                </c:pt>
                <c:pt idx="2279">
                  <c:v>2.3519935353334676</c:v>
                </c:pt>
                <c:pt idx="2280">
                  <c:v>2.4992137588071226</c:v>
                </c:pt>
                <c:pt idx="2281">
                  <c:v>2.6297968256875337</c:v>
                </c:pt>
                <c:pt idx="2282">
                  <c:v>2.7466743959015631</c:v>
                </c:pt>
                <c:pt idx="2283">
                  <c:v>2.8519314767951864</c:v>
                </c:pt>
                <c:pt idx="2284">
                  <c:v>2.9434352601409728</c:v>
                </c:pt>
                <c:pt idx="2285">
                  <c:v>3.0254526922204432</c:v>
                </c:pt>
                <c:pt idx="2286">
                  <c:v>3.093396266519878</c:v>
                </c:pt>
                <c:pt idx="2287">
                  <c:v>3.1503441390097562</c:v>
                </c:pt>
                <c:pt idx="2288">
                  <c:v>3.2030284776570586</c:v>
                </c:pt>
                <c:pt idx="2289">
                  <c:v>3.2456594685199169</c:v>
                </c:pt>
                <c:pt idx="2290">
                  <c:v>3.2817609501440801</c:v>
                </c:pt>
                <c:pt idx="2291">
                  <c:v>3.2608150426436402</c:v>
                </c:pt>
                <c:pt idx="2292">
                  <c:v>3.2419952951075697</c:v>
                </c:pt>
                <c:pt idx="2293">
                  <c:v>3.2231831506289526</c:v>
                </c:pt>
                <c:pt idx="2294">
                  <c:v>3.2059501047150278</c:v>
                </c:pt>
                <c:pt idx="2295">
                  <c:v>3.1828185061679397</c:v>
                </c:pt>
                <c:pt idx="2296">
                  <c:v>3.1550536107505729</c:v>
                </c:pt>
                <c:pt idx="2297">
                  <c:v>3.0713920833345449</c:v>
                </c:pt>
                <c:pt idx="2298">
                  <c:v>2.9774094806439471</c:v>
                </c:pt>
                <c:pt idx="2299">
                  <c:v>2.8317229459099074</c:v>
                </c:pt>
                <c:pt idx="2300">
                  <c:v>2.7046287017166488</c:v>
                </c:pt>
                <c:pt idx="2301">
                  <c:v>2.5590140312332097</c:v>
                </c:pt>
                <c:pt idx="2302">
                  <c:v>2.4082531264400924</c:v>
                </c:pt>
                <c:pt idx="2303">
                  <c:v>2.253107983489568</c:v>
                </c:pt>
                <c:pt idx="2304">
                  <c:v>2.0140980057201823</c:v>
                </c:pt>
                <c:pt idx="2305">
                  <c:v>1.752265477573256</c:v>
                </c:pt>
                <c:pt idx="2306">
                  <c:v>1.7789793412688237</c:v>
                </c:pt>
                <c:pt idx="2307">
                  <c:v>1.7692228545440034</c:v>
                </c:pt>
                <c:pt idx="2308">
                  <c:v>1.7598466427303849</c:v>
                </c:pt>
                <c:pt idx="2309">
                  <c:v>1.7412786840263721</c:v>
                </c:pt>
                <c:pt idx="2310">
                  <c:v>1.7126036031349263</c:v>
                </c:pt>
                <c:pt idx="2311">
                  <c:v>1.6768377512774251</c:v>
                </c:pt>
                <c:pt idx="2312">
                  <c:v>1.6280866396117493</c:v>
                </c:pt>
                <c:pt idx="2313">
                  <c:v>1.5644874035195071</c:v>
                </c:pt>
                <c:pt idx="2314">
                  <c:v>1.4963555899265075</c:v>
                </c:pt>
                <c:pt idx="2315">
                  <c:v>1.4185525259253784</c:v>
                </c:pt>
                <c:pt idx="2316">
                  <c:v>1.3255401716251667</c:v>
                </c:pt>
                <c:pt idx="2317">
                  <c:v>1.228578220539928</c:v>
                </c:pt>
                <c:pt idx="2318">
                  <c:v>1.0906173827388321</c:v>
                </c:pt>
                <c:pt idx="2319">
                  <c:v>0.92778119463870123</c:v>
                </c:pt>
                <c:pt idx="2320">
                  <c:v>0.70089834300106124</c:v>
                </c:pt>
                <c:pt idx="2321">
                  <c:v>0.31153138361927829</c:v>
                </c:pt>
                <c:pt idx="2322">
                  <c:v>0.31277405628290877</c:v>
                </c:pt>
                <c:pt idx="2323">
                  <c:v>0.30158711733816801</c:v>
                </c:pt>
                <c:pt idx="2324">
                  <c:v>0.30018564944176984</c:v>
                </c:pt>
                <c:pt idx="2325">
                  <c:v>0.29513581991099014</c:v>
                </c:pt>
                <c:pt idx="2326">
                  <c:v>0.29332897742040198</c:v>
                </c:pt>
                <c:pt idx="2327">
                  <c:v>0.2869778843515538</c:v>
                </c:pt>
                <c:pt idx="2328">
                  <c:v>0.28752353646801332</c:v>
                </c:pt>
                <c:pt idx="2329">
                  <c:v>0.27915476775930992</c:v>
                </c:pt>
                <c:pt idx="2330">
                  <c:v>0.27523177595688131</c:v>
                </c:pt>
                <c:pt idx="2331">
                  <c:v>0.27250927283515802</c:v>
                </c:pt>
                <c:pt idx="2332">
                  <c:v>0.28923904852996829</c:v>
                </c:pt>
                <c:pt idx="2333">
                  <c:v>0.2853450652214094</c:v>
                </c:pt>
                <c:pt idx="2334">
                  <c:v>0.28963353590838653</c:v>
                </c:pt>
                <c:pt idx="2335">
                  <c:v>0.29840255648976327</c:v>
                </c:pt>
                <c:pt idx="2336">
                  <c:v>0.31098802793382135</c:v>
                </c:pt>
                <c:pt idx="2337">
                  <c:v>0.3001557684393793</c:v>
                </c:pt>
                <c:pt idx="2338">
                  <c:v>0.30015602519940243</c:v>
                </c:pt>
                <c:pt idx="2339">
                  <c:v>0.30193902654466553</c:v>
                </c:pt>
                <c:pt idx="2340">
                  <c:v>0.30986570054127482</c:v>
                </c:pt>
                <c:pt idx="2341">
                  <c:v>0.32618479923634341</c:v>
                </c:pt>
                <c:pt idx="2342">
                  <c:v>0.32294815566149238</c:v>
                </c:pt>
                <c:pt idx="2343">
                  <c:v>0.32354615745889248</c:v>
                </c:pt>
                <c:pt idx="2344">
                  <c:v>0.32080954336199247</c:v>
                </c:pt>
                <c:pt idx="2345">
                  <c:v>0.3245478687703871</c:v>
                </c:pt>
                <c:pt idx="2346">
                  <c:v>0.32212135276111353</c:v>
                </c:pt>
                <c:pt idx="2347">
                  <c:v>0.32053447317518363</c:v>
                </c:pt>
                <c:pt idx="2348">
                  <c:v>0.2976889933273234</c:v>
                </c:pt>
                <c:pt idx="2349">
                  <c:v>0.29764356337523101</c:v>
                </c:pt>
                <c:pt idx="2350">
                  <c:v>0.29789673555433649</c:v>
                </c:pt>
                <c:pt idx="2351">
                  <c:v>0.30196282098205157</c:v>
                </c:pt>
                <c:pt idx="2352">
                  <c:v>0.30895990205433277</c:v>
                </c:pt>
                <c:pt idx="2353">
                  <c:v>0.30997196535615945</c:v>
                </c:pt>
                <c:pt idx="2354">
                  <c:v>0.31387825578906919</c:v>
                </c:pt>
                <c:pt idx="2355">
                  <c:v>0.31266193329380942</c:v>
                </c:pt>
                <c:pt idx="2356">
                  <c:v>0.32542565753380315</c:v>
                </c:pt>
                <c:pt idx="2357">
                  <c:v>0.3367210486734119</c:v>
                </c:pt>
                <c:pt idx="2358">
                  <c:v>0.34188808771419715</c:v>
                </c:pt>
                <c:pt idx="2359">
                  <c:v>0.35116311413656631</c:v>
                </c:pt>
                <c:pt idx="2360">
                  <c:v>0.36119044796158295</c:v>
                </c:pt>
                <c:pt idx="2361">
                  <c:v>0.37504405675672176</c:v>
                </c:pt>
                <c:pt idx="2362">
                  <c:v>0.37769159397523067</c:v>
                </c:pt>
                <c:pt idx="2363">
                  <c:v>0.38343883342483548</c:v>
                </c:pt>
                <c:pt idx="2364">
                  <c:v>0.3841988963432485</c:v>
                </c:pt>
                <c:pt idx="2365">
                  <c:v>0.3810267061209125</c:v>
                </c:pt>
                <c:pt idx="2366">
                  <c:v>0.37354880215119873</c:v>
                </c:pt>
                <c:pt idx="2367">
                  <c:v>0.36885534261303654</c:v>
                </c:pt>
                <c:pt idx="2368">
                  <c:v>0.37114422424024596</c:v>
                </c:pt>
                <c:pt idx="2369">
                  <c:v>0.37160765090854059</c:v>
                </c:pt>
                <c:pt idx="2370">
                  <c:v>0.37308766483892225</c:v>
                </c:pt>
                <c:pt idx="2371">
                  <c:v>0.36303508137398277</c:v>
                </c:pt>
                <c:pt idx="2372">
                  <c:v>0.34373080257197036</c:v>
                </c:pt>
                <c:pt idx="2373">
                  <c:v>0.34370758086671382</c:v>
                </c:pt>
                <c:pt idx="2374">
                  <c:v>0.34092677359931889</c:v>
                </c:pt>
                <c:pt idx="2375">
                  <c:v>0.34662823155047012</c:v>
                </c:pt>
                <c:pt idx="2376">
                  <c:v>0.36070239254051395</c:v>
                </c:pt>
                <c:pt idx="2377">
                  <c:v>0.36195368177765114</c:v>
                </c:pt>
                <c:pt idx="2378">
                  <c:v>0.36706057689776572</c:v>
                </c:pt>
                <c:pt idx="2379">
                  <c:v>0.36635371449445647</c:v>
                </c:pt>
                <c:pt idx="2380">
                  <c:v>0.3680473219900095</c:v>
                </c:pt>
                <c:pt idx="2381">
                  <c:v>0.36173855774922919</c:v>
                </c:pt>
                <c:pt idx="2382">
                  <c:v>0.35962457130740805</c:v>
                </c:pt>
                <c:pt idx="2383">
                  <c:v>0.35714590668953089</c:v>
                </c:pt>
                <c:pt idx="2384">
                  <c:v>0.35205674990698493</c:v>
                </c:pt>
                <c:pt idx="2385">
                  <c:v>0.35434526304582326</c:v>
                </c:pt>
                <c:pt idx="2386">
                  <c:v>0.36433152138717395</c:v>
                </c:pt>
                <c:pt idx="2387">
                  <c:v>0.3686082615169558</c:v>
                </c:pt>
                <c:pt idx="2388">
                  <c:v>0.36577711457881124</c:v>
                </c:pt>
                <c:pt idx="2389">
                  <c:v>0.37562402151825591</c:v>
                </c:pt>
                <c:pt idx="2390">
                  <c:v>0.37108274524072066</c:v>
                </c:pt>
                <c:pt idx="2391">
                  <c:v>0.36081974337328748</c:v>
                </c:pt>
                <c:pt idx="2392">
                  <c:v>0.34887164087855638</c:v>
                </c:pt>
                <c:pt idx="2393">
                  <c:v>0.34730282269299001</c:v>
                </c:pt>
                <c:pt idx="2394">
                  <c:v>0.32950555978966745</c:v>
                </c:pt>
                <c:pt idx="2395">
                  <c:v>0.32731740766822481</c:v>
                </c:pt>
                <c:pt idx="2396">
                  <c:v>0.33152857537859559</c:v>
                </c:pt>
                <c:pt idx="2397">
                  <c:v>0.33953827920746876</c:v>
                </c:pt>
                <c:pt idx="2398">
                  <c:v>0.33414724435044185</c:v>
                </c:pt>
                <c:pt idx="2399">
                  <c:v>0.3234903778209694</c:v>
                </c:pt>
                <c:pt idx="2400">
                  <c:v>0.34379496738063431</c:v>
                </c:pt>
                <c:pt idx="2401">
                  <c:v>0.34312342945322938</c:v>
                </c:pt>
                <c:pt idx="2402">
                  <c:v>0.3450705398085363</c:v>
                </c:pt>
                <c:pt idx="2403">
                  <c:v>0.34503843339565965</c:v>
                </c:pt>
                <c:pt idx="2404">
                  <c:v>0.34974313418492731</c:v>
                </c:pt>
                <c:pt idx="2405">
                  <c:v>0.35409436943171757</c:v>
                </c:pt>
                <c:pt idx="2406">
                  <c:v>0.34518447746506054</c:v>
                </c:pt>
                <c:pt idx="2407">
                  <c:v>0.3475427051901383</c:v>
                </c:pt>
                <c:pt idx="2408">
                  <c:v>0.35813889349160355</c:v>
                </c:pt>
                <c:pt idx="2409">
                  <c:v>0.3495447442698506</c:v>
                </c:pt>
                <c:pt idx="2410">
                  <c:v>0.33739867054403266</c:v>
                </c:pt>
                <c:pt idx="2411">
                  <c:v>0.3401426351448163</c:v>
                </c:pt>
                <c:pt idx="2412">
                  <c:v>0.34566803673962315</c:v>
                </c:pt>
                <c:pt idx="2413">
                  <c:v>0.35633255261940361</c:v>
                </c:pt>
                <c:pt idx="2414">
                  <c:v>0.35240879485099025</c:v>
                </c:pt>
                <c:pt idx="2415">
                  <c:v>0.36342574900910546</c:v>
                </c:pt>
                <c:pt idx="2416">
                  <c:v>0.36252301179720631</c:v>
                </c:pt>
                <c:pt idx="2417">
                  <c:v>0.35757881270492481</c:v>
                </c:pt>
                <c:pt idx="2418">
                  <c:v>0.3538372274853101</c:v>
                </c:pt>
                <c:pt idx="2419">
                  <c:v>0.3668881397014232</c:v>
                </c:pt>
                <c:pt idx="2420">
                  <c:v>0.35366375328737198</c:v>
                </c:pt>
                <c:pt idx="2421">
                  <c:v>0.35858785737246984</c:v>
                </c:pt>
                <c:pt idx="2422">
                  <c:v>0.35068346342943901</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pt idx="2452">
                  <c:v>#N/A</c:v>
                </c:pt>
              </c:numCache>
            </c:numRef>
          </c:val>
          <c:smooth val="0"/>
          <c:extLst>
            <c:ext xmlns:c16="http://schemas.microsoft.com/office/drawing/2014/chart" uri="{C3380CC4-5D6E-409C-BE32-E72D297353CC}">
              <c16:uniqueId val="{00000003-BF3F-43A4-B953-054E6028043D}"/>
            </c:ext>
          </c:extLst>
        </c:ser>
        <c:ser>
          <c:idx val="6"/>
          <c:order val="6"/>
          <c:tx>
            <c:strRef>
              <c:f>'Data Repository Table'!$I$1</c:f>
              <c:strCache>
                <c:ptCount val="1"/>
                <c:pt idx="0">
                  <c:v>Pump Efficiency</c:v>
                </c:pt>
              </c:strCache>
            </c:strRef>
          </c:tx>
          <c:spPr>
            <a:ln w="28575" cap="rnd">
              <a:solidFill>
                <a:schemeClr val="accent1">
                  <a:lumMod val="60000"/>
                </a:schemeClr>
              </a:solidFill>
              <a:round/>
            </a:ln>
            <a:effectLst/>
          </c:spPr>
          <c:marker>
            <c:symbol val="none"/>
          </c:marker>
          <c:val>
            <c:numRef>
              <c:f>'Data Repository Table'!$I$4908:$I$7360</c:f>
              <c:numCache>
                <c:formatCode>General</c:formatCode>
                <c:ptCount val="2453"/>
                <c:pt idx="0">
                  <c:v>1.8108273545015954</c:v>
                </c:pt>
                <c:pt idx="1">
                  <c:v>1.8374970128878603</c:v>
                </c:pt>
                <c:pt idx="2">
                  <c:v>1.8834928631880341</c:v>
                </c:pt>
                <c:pt idx="3">
                  <c:v>1.8748566697786868</c:v>
                </c:pt>
                <c:pt idx="4">
                  <c:v>1.9308953577574002</c:v>
                </c:pt>
                <c:pt idx="5">
                  <c:v>1.9066328727370143</c:v>
                </c:pt>
                <c:pt idx="6">
                  <c:v>1.8377755574002879</c:v>
                </c:pt>
                <c:pt idx="7">
                  <c:v>1.9102027205206265</c:v>
                </c:pt>
                <c:pt idx="8">
                  <c:v>1.9065892467343106</c:v>
                </c:pt>
                <c:pt idx="9">
                  <c:v>1.9158190801095283</c:v>
                </c:pt>
                <c:pt idx="10">
                  <c:v>1.8954048367685752</c:v>
                </c:pt>
                <c:pt idx="11">
                  <c:v>1.9500474739417233</c:v>
                </c:pt>
                <c:pt idx="12">
                  <c:v>2.0168739873148649</c:v>
                </c:pt>
                <c:pt idx="13">
                  <c:v>2.0386139988594851</c:v>
                </c:pt>
                <c:pt idx="14">
                  <c:v>1.9868845712511063</c:v>
                </c:pt>
                <c:pt idx="15">
                  <c:v>2.0034322277958858</c:v>
                </c:pt>
                <c:pt idx="16">
                  <c:v>2.1150668699994908</c:v>
                </c:pt>
                <c:pt idx="17">
                  <c:v>2.1187260952269336</c:v>
                </c:pt>
                <c:pt idx="18">
                  <c:v>2.1227260063503421</c:v>
                </c:pt>
                <c:pt idx="19">
                  <c:v>2.1452989654807988</c:v>
                </c:pt>
                <c:pt idx="20">
                  <c:v>2.1561542100501763</c:v>
                </c:pt>
                <c:pt idx="21">
                  <c:v>2.2344564263360209</c:v>
                </c:pt>
                <c:pt idx="22">
                  <c:v>2.2478412286642597</c:v>
                </c:pt>
                <c:pt idx="23">
                  <c:v>2.2451364538963388</c:v>
                </c:pt>
                <c:pt idx="24">
                  <c:v>2.2319824524000871</c:v>
                </c:pt>
                <c:pt idx="25">
                  <c:v>2.2283308676053846</c:v>
                </c:pt>
                <c:pt idx="26">
                  <c:v>2.2131857265403032</c:v>
                </c:pt>
                <c:pt idx="27">
                  <c:v>2.2072179083344881</c:v>
                </c:pt>
                <c:pt idx="28">
                  <c:v>2.2363876370613656</c:v>
                </c:pt>
                <c:pt idx="29">
                  <c:v>2.2650992222866337</c:v>
                </c:pt>
                <c:pt idx="30">
                  <c:v>2.289876569131462</c:v>
                </c:pt>
                <c:pt idx="31">
                  <c:v>2.199959121632125</c:v>
                </c:pt>
                <c:pt idx="32">
                  <c:v>2.2338675879747849</c:v>
                </c:pt>
                <c:pt idx="33">
                  <c:v>2.2548380600333644</c:v>
                </c:pt>
                <c:pt idx="34">
                  <c:v>2.2541236637579072</c:v>
                </c:pt>
                <c:pt idx="35">
                  <c:v>2.1991418796123385</c:v>
                </c:pt>
                <c:pt idx="36">
                  <c:v>2.180337555607812</c:v>
                </c:pt>
                <c:pt idx="37">
                  <c:v>2.2048879721018109</c:v>
                </c:pt>
                <c:pt idx="38">
                  <c:v>2.1740698192052132</c:v>
                </c:pt>
                <c:pt idx="39">
                  <c:v>2.1681233610510828</c:v>
                </c:pt>
                <c:pt idx="40">
                  <c:v>2.2284412519120034</c:v>
                </c:pt>
                <c:pt idx="41">
                  <c:v>2.2417923603133008</c:v>
                </c:pt>
                <c:pt idx="42">
                  <c:v>2.2032326411240413</c:v>
                </c:pt>
                <c:pt idx="43">
                  <c:v>2.1570518436469186</c:v>
                </c:pt>
                <c:pt idx="44">
                  <c:v>2.1387542208002817</c:v>
                </c:pt>
                <c:pt idx="45">
                  <c:v>2.173987740574888</c:v>
                </c:pt>
                <c:pt idx="46">
                  <c:v>2.2357296703715819</c:v>
                </c:pt>
                <c:pt idx="47">
                  <c:v>2.2242797134107524</c:v>
                </c:pt>
                <c:pt idx="48">
                  <c:v>2.1658577193654618</c:v>
                </c:pt>
                <c:pt idx="49">
                  <c:v>2.2220145404893872</c:v>
                </c:pt>
                <c:pt idx="50">
                  <c:v>2.220519576404131</c:v>
                </c:pt>
                <c:pt idx="51">
                  <c:v>2.2853921996984932</c:v>
                </c:pt>
                <c:pt idx="52">
                  <c:v>2.2420533364754749</c:v>
                </c:pt>
                <c:pt idx="53">
                  <c:v>2.2835268728693934</c:v>
                </c:pt>
                <c:pt idx="54">
                  <c:v>2.2955214318139503</c:v>
                </c:pt>
                <c:pt idx="55">
                  <c:v>2.3004499615881451</c:v>
                </c:pt>
                <c:pt idx="56">
                  <c:v>2.2775993135873018</c:v>
                </c:pt>
                <c:pt idx="57">
                  <c:v>2.2496117934797519</c:v>
                </c:pt>
                <c:pt idx="58">
                  <c:v>2.2999471052843048</c:v>
                </c:pt>
                <c:pt idx="59">
                  <c:v>2.311564934126102</c:v>
                </c:pt>
                <c:pt idx="60">
                  <c:v>2.3588475437485426</c:v>
                </c:pt>
                <c:pt idx="61">
                  <c:v>2.3430988344224128</c:v>
                </c:pt>
                <c:pt idx="62">
                  <c:v>2.3309979044998932</c:v>
                </c:pt>
                <c:pt idx="63">
                  <c:v>2.3334519018763173</c:v>
                </c:pt>
                <c:pt idx="64">
                  <c:v>2.3172439403847771</c:v>
                </c:pt>
                <c:pt idx="65">
                  <c:v>2.3475108250377112</c:v>
                </c:pt>
                <c:pt idx="66">
                  <c:v>2.3504362592349861</c:v>
                </c:pt>
                <c:pt idx="67">
                  <c:v>2.3819126483919262</c:v>
                </c:pt>
                <c:pt idx="68">
                  <c:v>2.3561484520937044</c:v>
                </c:pt>
                <c:pt idx="69">
                  <c:v>2.3251332724679239</c:v>
                </c:pt>
                <c:pt idx="70">
                  <c:v>2.3788762023562775</c:v>
                </c:pt>
                <c:pt idx="71">
                  <c:v>2.3736311727939645</c:v>
                </c:pt>
                <c:pt idx="72">
                  <c:v>2.3671505570053601</c:v>
                </c:pt>
                <c:pt idx="73">
                  <c:v>2.4399356665804639</c:v>
                </c:pt>
                <c:pt idx="74">
                  <c:v>2.4367460052148457</c:v>
                </c:pt>
                <c:pt idx="75">
                  <c:v>2.4442540123857617</c:v>
                </c:pt>
                <c:pt idx="76">
                  <c:v>2.426008691849983</c:v>
                </c:pt>
                <c:pt idx="77">
                  <c:v>2.3917245281984503</c:v>
                </c:pt>
                <c:pt idx="78">
                  <c:v>2.3170417528975946</c:v>
                </c:pt>
                <c:pt idx="79">
                  <c:v>2.3027432552501605</c:v>
                </c:pt>
                <c:pt idx="80">
                  <c:v>2.2668113032196042</c:v>
                </c:pt>
                <c:pt idx="81">
                  <c:v>2.1994373305974091</c:v>
                </c:pt>
                <c:pt idx="82">
                  <c:v>2.1942161596410048</c:v>
                </c:pt>
                <c:pt idx="83">
                  <c:v>2.2428186491015025</c:v>
                </c:pt>
                <c:pt idx="84">
                  <c:v>2.2014074975410991</c:v>
                </c:pt>
                <c:pt idx="85">
                  <c:v>2.1613841091341524</c:v>
                </c:pt>
                <c:pt idx="86">
                  <c:v>2.1812074739946978</c:v>
                </c:pt>
                <c:pt idx="87">
                  <c:v>2.1829237993736426</c:v>
                </c:pt>
                <c:pt idx="88">
                  <c:v>2.1733825193876588</c:v>
                </c:pt>
                <c:pt idx="89">
                  <c:v>2.1386839170814782</c:v>
                </c:pt>
                <c:pt idx="90">
                  <c:v>2.1241179370682222</c:v>
                </c:pt>
                <c:pt idx="91">
                  <c:v>2.0657392793152178</c:v>
                </c:pt>
                <c:pt idx="92">
                  <c:v>2.0989747955592852</c:v>
                </c:pt>
                <c:pt idx="93">
                  <c:v>2.1238237239756135</c:v>
                </c:pt>
                <c:pt idx="94">
                  <c:v>2.058703739233172</c:v>
                </c:pt>
                <c:pt idx="95">
                  <c:v>2.0984658379848296</c:v>
                </c:pt>
                <c:pt idx="96">
                  <c:v>2.1597395434596733</c:v>
                </c:pt>
                <c:pt idx="97">
                  <c:v>2.1553571357970456</c:v>
                </c:pt>
                <c:pt idx="98">
                  <c:v>2.1452562162915934</c:v>
                </c:pt>
                <c:pt idx="99">
                  <c:v>2.1068311283439645</c:v>
                </c:pt>
                <c:pt idx="100">
                  <c:v>2.168545323657983</c:v>
                </c:pt>
                <c:pt idx="101">
                  <c:v>2.1517440160239727</c:v>
                </c:pt>
                <c:pt idx="102">
                  <c:v>2.1697543639366792</c:v>
                </c:pt>
                <c:pt idx="103">
                  <c:v>2.1853599470762011</c:v>
                </c:pt>
                <c:pt idx="104">
                  <c:v>2.190596871601453</c:v>
                </c:pt>
                <c:pt idx="105">
                  <c:v>2.2546599157398046</c:v>
                </c:pt>
                <c:pt idx="106">
                  <c:v>2.2264940486534504</c:v>
                </c:pt>
                <c:pt idx="107">
                  <c:v>2.2025784878236565</c:v>
                </c:pt>
                <c:pt idx="108">
                  <c:v>2.1774602943184358</c:v>
                </c:pt>
                <c:pt idx="109">
                  <c:v>2.2242715631173469</c:v>
                </c:pt>
                <c:pt idx="110">
                  <c:v>2.2376019586934444</c:v>
                </c:pt>
                <c:pt idx="111">
                  <c:v>2.3103779481328788</c:v>
                </c:pt>
                <c:pt idx="112">
                  <c:v>2.3529056363984138</c:v>
                </c:pt>
                <c:pt idx="113">
                  <c:v>2.337928927063361</c:v>
                </c:pt>
                <c:pt idx="114">
                  <c:v>2.2538844299451712</c:v>
                </c:pt>
                <c:pt idx="115">
                  <c:v>2.2621861509307131</c:v>
                </c:pt>
                <c:pt idx="116">
                  <c:v>2.2734175295886034</c:v>
                </c:pt>
                <c:pt idx="117">
                  <c:v>2.2630849218594276</c:v>
                </c:pt>
                <c:pt idx="118">
                  <c:v>2.2298739971551034</c:v>
                </c:pt>
                <c:pt idx="119">
                  <c:v>2.2552187371682799</c:v>
                </c:pt>
                <c:pt idx="120">
                  <c:v>2.288595241053978</c:v>
                </c:pt>
                <c:pt idx="121">
                  <c:v>2.2492567173803661</c:v>
                </c:pt>
                <c:pt idx="122">
                  <c:v>2.2973333870753692</c:v>
                </c:pt>
                <c:pt idx="123">
                  <c:v>2.2684974911434801</c:v>
                </c:pt>
                <c:pt idx="124">
                  <c:v>2.2618335202982625</c:v>
                </c:pt>
                <c:pt idx="125">
                  <c:v>2.2488238184892246</c:v>
                </c:pt>
                <c:pt idx="126">
                  <c:v>2.1630464871910586</c:v>
                </c:pt>
                <c:pt idx="127">
                  <c:v>2.1876356135998378</c:v>
                </c:pt>
                <c:pt idx="128">
                  <c:v>2.1945458027909575</c:v>
                </c:pt>
                <c:pt idx="129">
                  <c:v>2.1786792343656534</c:v>
                </c:pt>
                <c:pt idx="130">
                  <c:v>2.2008161158033728</c:v>
                </c:pt>
                <c:pt idx="131">
                  <c:v>2.1433564968946701</c:v>
                </c:pt>
                <c:pt idx="132">
                  <c:v>2.1345453879344078</c:v>
                </c:pt>
                <c:pt idx="133">
                  <c:v>2.0484321544293578</c:v>
                </c:pt>
                <c:pt idx="134">
                  <c:v>2.0456413078634337</c:v>
                </c:pt>
                <c:pt idx="135">
                  <c:v>1.9610795779800363</c:v>
                </c:pt>
                <c:pt idx="136">
                  <c:v>1.8950302860234811</c:v>
                </c:pt>
                <c:pt idx="137">
                  <c:v>1.895724562392394</c:v>
                </c:pt>
                <c:pt idx="138">
                  <c:v>1.8928467776982192</c:v>
                </c:pt>
                <c:pt idx="139">
                  <c:v>1.9349067713942651</c:v>
                </c:pt>
                <c:pt idx="140">
                  <c:v>1.9204484576534495</c:v>
                </c:pt>
                <c:pt idx="141">
                  <c:v>1.981153179253403</c:v>
                </c:pt>
                <c:pt idx="142">
                  <c:v>1.9223399127748049</c:v>
                </c:pt>
                <c:pt idx="143">
                  <c:v>1.9177679270683108</c:v>
                </c:pt>
                <c:pt idx="144">
                  <c:v>1.8509456562172797</c:v>
                </c:pt>
                <c:pt idx="145">
                  <c:v>1.8868568882491636</c:v>
                </c:pt>
                <c:pt idx="146">
                  <c:v>1.9183566977491868</c:v>
                </c:pt>
                <c:pt idx="147">
                  <c:v>1.9239656977302988</c:v>
                </c:pt>
                <c:pt idx="148">
                  <c:v>1.9658900574853149</c:v>
                </c:pt>
                <c:pt idx="149">
                  <c:v>2.0701211514789204</c:v>
                </c:pt>
                <c:pt idx="150">
                  <c:v>2.0826438706290697</c:v>
                </c:pt>
                <c:pt idx="151">
                  <c:v>2.0922122676138608</c:v>
                </c:pt>
                <c:pt idx="152">
                  <c:v>2.1113923803268131</c:v>
                </c:pt>
                <c:pt idx="153">
                  <c:v>2.0667506568990337</c:v>
                </c:pt>
                <c:pt idx="154">
                  <c:v>2.0427058755618535</c:v>
                </c:pt>
                <c:pt idx="155">
                  <c:v>2.0141200661789318</c:v>
                </c:pt>
                <c:pt idx="156">
                  <c:v>2.0317522147439062</c:v>
                </c:pt>
                <c:pt idx="157">
                  <c:v>2.0392822263184067</c:v>
                </c:pt>
                <c:pt idx="158">
                  <c:v>1.9961414836858822</c:v>
                </c:pt>
                <c:pt idx="159">
                  <c:v>2.0497389256197791</c:v>
                </c:pt>
                <c:pt idx="160">
                  <c:v>2.0881957829691902</c:v>
                </c:pt>
                <c:pt idx="161">
                  <c:v>2.0463711642303068</c:v>
                </c:pt>
                <c:pt idx="162">
                  <c:v>2.0689832591518651</c:v>
                </c:pt>
                <c:pt idx="163">
                  <c:v>2.0568353747060417</c:v>
                </c:pt>
                <c:pt idx="164">
                  <c:v>2.0701714619348079</c:v>
                </c:pt>
                <c:pt idx="165">
                  <c:v>2.0675516318314311</c:v>
                </c:pt>
                <c:pt idx="166">
                  <c:v>2.0784012818474973</c:v>
                </c:pt>
                <c:pt idx="167">
                  <c:v>2.0840347703908377</c:v>
                </c:pt>
                <c:pt idx="168">
                  <c:v>2.0876271578261547</c:v>
                </c:pt>
                <c:pt idx="169">
                  <c:v>2.1086224915504412</c:v>
                </c:pt>
                <c:pt idx="170">
                  <c:v>2.0322623131141779</c:v>
                </c:pt>
                <c:pt idx="171">
                  <c:v>1.9967662473478429</c:v>
                </c:pt>
                <c:pt idx="172">
                  <c:v>1.8772803840799694</c:v>
                </c:pt>
                <c:pt idx="173">
                  <c:v>1.9814660650179559</c:v>
                </c:pt>
                <c:pt idx="174">
                  <c:v>1.9720187834524221</c:v>
                </c:pt>
                <c:pt idx="175">
                  <c:v>1.9626413973970156</c:v>
                </c:pt>
                <c:pt idx="176">
                  <c:v>2.0845429883702242</c:v>
                </c:pt>
                <c:pt idx="177">
                  <c:v>2.0825274652172028</c:v>
                </c:pt>
                <c:pt idx="178">
                  <c:v>2.1424745279687132</c:v>
                </c:pt>
                <c:pt idx="179">
                  <c:v>2.1400501874818048</c:v>
                </c:pt>
                <c:pt idx="180">
                  <c:v>2.0587534654090738</c:v>
                </c:pt>
                <c:pt idx="181">
                  <c:v>2.0251138073303907</c:v>
                </c:pt>
                <c:pt idx="182">
                  <c:v>2.0060071519960787</c:v>
                </c:pt>
                <c:pt idx="183">
                  <c:v>2.0467807148705113</c:v>
                </c:pt>
                <c:pt idx="184">
                  <c:v>2.0704846299076287</c:v>
                </c:pt>
                <c:pt idx="185">
                  <c:v>2.1370346900569279</c:v>
                </c:pt>
                <c:pt idx="186">
                  <c:v>2.1688614958992209</c:v>
                </c:pt>
                <c:pt idx="187">
                  <c:v>2.1745388505737036</c:v>
                </c:pt>
                <c:pt idx="188">
                  <c:v>2.2024818167299034</c:v>
                </c:pt>
                <c:pt idx="189">
                  <c:v>2.2404287969824375</c:v>
                </c:pt>
                <c:pt idx="190">
                  <c:v>2.1943326338117584</c:v>
                </c:pt>
                <c:pt idx="191">
                  <c:v>2.1368981257722388</c:v>
                </c:pt>
                <c:pt idx="192">
                  <c:v>2.1285411162087273</c:v>
                </c:pt>
                <c:pt idx="193">
                  <c:v>2.135358720411173</c:v>
                </c:pt>
                <c:pt idx="194">
                  <c:v>2.1840531075364407</c:v>
                </c:pt>
                <c:pt idx="195">
                  <c:v>2.2347608876581533</c:v>
                </c:pt>
                <c:pt idx="196">
                  <c:v>2.2905118431669149</c:v>
                </c:pt>
                <c:pt idx="197">
                  <c:v>2.2475277846572563</c:v>
                </c:pt>
                <c:pt idx="198">
                  <c:v>2.2234001084599746</c:v>
                </c:pt>
                <c:pt idx="199">
                  <c:v>2.295761900776391</c:v>
                </c:pt>
                <c:pt idx="200">
                  <c:v>2.3390080162230236</c:v>
                </c:pt>
                <c:pt idx="201">
                  <c:v>2.3319315843834447</c:v>
                </c:pt>
                <c:pt idx="202">
                  <c:v>2.2782181958823444</c:v>
                </c:pt>
                <c:pt idx="203">
                  <c:v>2.2792959230679637</c:v>
                </c:pt>
                <c:pt idx="204">
                  <c:v>2.2501246349160695</c:v>
                </c:pt>
                <c:pt idx="205">
                  <c:v>2.2583591180280922</c:v>
                </c:pt>
                <c:pt idx="206">
                  <c:v>2.3114222265738649</c:v>
                </c:pt>
                <c:pt idx="207">
                  <c:v>2.2907255275649048</c:v>
                </c:pt>
                <c:pt idx="208">
                  <c:v>2.2602364083654778</c:v>
                </c:pt>
                <c:pt idx="209">
                  <c:v>2.3099645055849041</c:v>
                </c:pt>
                <c:pt idx="210">
                  <c:v>2.2491615784372661</c:v>
                </c:pt>
                <c:pt idx="211">
                  <c:v>2.2643232301836074</c:v>
                </c:pt>
                <c:pt idx="212">
                  <c:v>2.3121685757349488</c:v>
                </c:pt>
                <c:pt idx="213">
                  <c:v>2.2996965633105209</c:v>
                </c:pt>
                <c:pt idx="214">
                  <c:v>2.2978573895262051</c:v>
                </c:pt>
                <c:pt idx="215">
                  <c:v>2.2455433117514261</c:v>
                </c:pt>
                <c:pt idx="216">
                  <c:v>2.1982646670571895</c:v>
                </c:pt>
                <c:pt idx="217">
                  <c:v>2.2803023710472106</c:v>
                </c:pt>
                <c:pt idx="218">
                  <c:v>2.4410918360792464</c:v>
                </c:pt>
                <c:pt idx="219">
                  <c:v>2.4328623387555823</c:v>
                </c:pt>
                <c:pt idx="220">
                  <c:v>2.3582615783097474</c:v>
                </c:pt>
                <c:pt idx="221">
                  <c:v>2.3739585124698959</c:v>
                </c:pt>
                <c:pt idx="222">
                  <c:v>2.3987057738489166</c:v>
                </c:pt>
                <c:pt idx="223">
                  <c:v>2.523395409660377</c:v>
                </c:pt>
                <c:pt idx="224">
                  <c:v>2.5543607632312706</c:v>
                </c:pt>
                <c:pt idx="225">
                  <c:v>2.4778282444569673</c:v>
                </c:pt>
                <c:pt idx="226">
                  <c:v>2.4577736275180713</c:v>
                </c:pt>
                <c:pt idx="227">
                  <c:v>2.5467604526114864</c:v>
                </c:pt>
                <c:pt idx="228">
                  <c:v>2.5327392232492025</c:v>
                </c:pt>
                <c:pt idx="229">
                  <c:v>2.5701912138355762</c:v>
                </c:pt>
                <c:pt idx="230">
                  <c:v>2.4966470005680921</c:v>
                </c:pt>
                <c:pt idx="231">
                  <c:v>2.4686361418006246</c:v>
                </c:pt>
                <c:pt idx="232">
                  <c:v>2.4641718477468109</c:v>
                </c:pt>
                <c:pt idx="233">
                  <c:v>2.4675340785977271</c:v>
                </c:pt>
                <c:pt idx="234">
                  <c:v>2.3296287255937029</c:v>
                </c:pt>
                <c:pt idx="235">
                  <c:v>2.3295847813956274</c:v>
                </c:pt>
                <c:pt idx="236">
                  <c:v>2.3334316415542249</c:v>
                </c:pt>
                <c:pt idx="237">
                  <c:v>2.1627680885093299</c:v>
                </c:pt>
                <c:pt idx="238">
                  <c:v>2.0920301300104596</c:v>
                </c:pt>
                <c:pt idx="239">
                  <c:v>1.9881450838491324</c:v>
                </c:pt>
                <c:pt idx="240">
                  <c:v>1.9792241805522179</c:v>
                </c:pt>
                <c:pt idx="241">
                  <c:v>1.9336834304892336</c:v>
                </c:pt>
                <c:pt idx="242">
                  <c:v>1.7591200954383579</c:v>
                </c:pt>
                <c:pt idx="243">
                  <c:v>1.5076206195400923</c:v>
                </c:pt>
                <c:pt idx="244">
                  <c:v>1.5913151834731065</c:v>
                </c:pt>
                <c:pt idx="245">
                  <c:v>1.6096633451127789</c:v>
                </c:pt>
                <c:pt idx="246">
                  <c:v>1.6354875465120644</c:v>
                </c:pt>
                <c:pt idx="247">
                  <c:v>1.5928686716650411</c:v>
                </c:pt>
                <c:pt idx="248">
                  <c:v>1.5853528445414118</c:v>
                </c:pt>
                <c:pt idx="249">
                  <c:v>1.5922669250856096</c:v>
                </c:pt>
                <c:pt idx="250">
                  <c:v>1.5958258891160013</c:v>
                </c:pt>
                <c:pt idx="251">
                  <c:v>1.545839064349092</c:v>
                </c:pt>
                <c:pt idx="252">
                  <c:v>1.5333412925428711</c:v>
                </c:pt>
                <c:pt idx="253">
                  <c:v>1.561470231178905</c:v>
                </c:pt>
                <c:pt idx="254">
                  <c:v>1.5675311242991292</c:v>
                </c:pt>
                <c:pt idx="255">
                  <c:v>1.5676882643779002</c:v>
                </c:pt>
                <c:pt idx="256">
                  <c:v>1.6158837900660767</c:v>
                </c:pt>
                <c:pt idx="257">
                  <c:v>1.9083448712211877</c:v>
                </c:pt>
                <c:pt idx="258">
                  <c:v>1.9218957065166384</c:v>
                </c:pt>
                <c:pt idx="259">
                  <c:v>2.0246452733926441</c:v>
                </c:pt>
                <c:pt idx="260">
                  <c:v>2.0716604755846695</c:v>
                </c:pt>
                <c:pt idx="261">
                  <c:v>2.1799067873893616</c:v>
                </c:pt>
                <c:pt idx="262">
                  <c:v>2.1684536922937729</c:v>
                </c:pt>
                <c:pt idx="263">
                  <c:v>2.2457147398925716</c:v>
                </c:pt>
                <c:pt idx="264">
                  <c:v>2.4103500278448231</c:v>
                </c:pt>
                <c:pt idx="265">
                  <c:v>2.4287344989374575</c:v>
                </c:pt>
                <c:pt idx="266">
                  <c:v>2.5756415591145339</c:v>
                </c:pt>
                <c:pt idx="267">
                  <c:v>2.6704648592800142</c:v>
                </c:pt>
                <c:pt idx="268">
                  <c:v>2.7576058348611614</c:v>
                </c:pt>
                <c:pt idx="269">
                  <c:v>2.7700736624896725</c:v>
                </c:pt>
                <c:pt idx="270">
                  <c:v>2.8234151893683705</c:v>
                </c:pt>
                <c:pt idx="271">
                  <c:v>2.820618377210697</c:v>
                </c:pt>
                <c:pt idx="272">
                  <c:v>2.8175785940350244</c:v>
                </c:pt>
                <c:pt idx="273">
                  <c:v>2.7987458312658697</c:v>
                </c:pt>
                <c:pt idx="274">
                  <c:v>2.7571928020854255</c:v>
                </c:pt>
                <c:pt idx="275">
                  <c:v>2.6761786720479019</c:v>
                </c:pt>
                <c:pt idx="276">
                  <c:v>2.6132122653073613</c:v>
                </c:pt>
                <c:pt idx="277">
                  <c:v>2.5009906506075499</c:v>
                </c:pt>
                <c:pt idx="278">
                  <c:v>2.4552016790506115</c:v>
                </c:pt>
                <c:pt idx="279">
                  <c:v>2.4701589502482815</c:v>
                </c:pt>
                <c:pt idx="280">
                  <c:v>2.2723953618830004</c:v>
                </c:pt>
                <c:pt idx="281">
                  <c:v>2.1805253582562982</c:v>
                </c:pt>
                <c:pt idx="282">
                  <c:v>2.2252827705414764</c:v>
                </c:pt>
                <c:pt idx="283">
                  <c:v>2.1699090095551274</c:v>
                </c:pt>
                <c:pt idx="284">
                  <c:v>2.1816953370434757</c:v>
                </c:pt>
                <c:pt idx="285">
                  <c:v>2.1682782869325665</c:v>
                </c:pt>
                <c:pt idx="286">
                  <c:v>2.0814428070189597</c:v>
                </c:pt>
                <c:pt idx="287">
                  <c:v>2.09001485404035</c:v>
                </c:pt>
                <c:pt idx="288">
                  <c:v>2.05895408451818</c:v>
                </c:pt>
                <c:pt idx="289">
                  <c:v>2.0699193822466295</c:v>
                </c:pt>
                <c:pt idx="290">
                  <c:v>2.0762229787001458</c:v>
                </c:pt>
                <c:pt idx="291">
                  <c:v>2.1893732017269385</c:v>
                </c:pt>
                <c:pt idx="292">
                  <c:v>2.2713389307901766</c:v>
                </c:pt>
                <c:pt idx="293">
                  <c:v>2.2420983620965242</c:v>
                </c:pt>
                <c:pt idx="294">
                  <c:v>2.240398175881352</c:v>
                </c:pt>
                <c:pt idx="295">
                  <c:v>2.288603162274546</c:v>
                </c:pt>
                <c:pt idx="296">
                  <c:v>2.2885846793839066</c:v>
                </c:pt>
                <c:pt idx="297">
                  <c:v>2.283806737889893</c:v>
                </c:pt>
                <c:pt idx="298">
                  <c:v>2.3414021536556917</c:v>
                </c:pt>
                <c:pt idx="299">
                  <c:v>2.4089694356951079</c:v>
                </c:pt>
                <c:pt idx="300">
                  <c:v>2.3855519077477183</c:v>
                </c:pt>
                <c:pt idx="301">
                  <c:v>2.3865988898610357</c:v>
                </c:pt>
                <c:pt idx="302">
                  <c:v>2.39509570302353</c:v>
                </c:pt>
                <c:pt idx="303">
                  <c:v>2.4841602174853823</c:v>
                </c:pt>
                <c:pt idx="304">
                  <c:v>2.4835806316550855</c:v>
                </c:pt>
                <c:pt idx="305">
                  <c:v>2.4835806316550864</c:v>
                </c:pt>
                <c:pt idx="306">
                  <c:v>2.4262327118300377</c:v>
                </c:pt>
                <c:pt idx="307">
                  <c:v>2.4559117156216272</c:v>
                </c:pt>
                <c:pt idx="308">
                  <c:v>2.4636819205622178</c:v>
                </c:pt>
                <c:pt idx="309">
                  <c:v>2.4877789267275716</c:v>
                </c:pt>
                <c:pt idx="310">
                  <c:v>2.4156695436617319</c:v>
                </c:pt>
                <c:pt idx="311">
                  <c:v>2.4348877220811547</c:v>
                </c:pt>
                <c:pt idx="312">
                  <c:v>2.4059816154723475</c:v>
                </c:pt>
                <c:pt idx="313">
                  <c:v>2.3771035248151495</c:v>
                </c:pt>
                <c:pt idx="314">
                  <c:v>2.4005664487491338</c:v>
                </c:pt>
                <c:pt idx="315">
                  <c:v>2.3669403180870301</c:v>
                </c:pt>
                <c:pt idx="316">
                  <c:v>2.4443068018520129</c:v>
                </c:pt>
                <c:pt idx="317">
                  <c:v>2.4487144090677164</c:v>
                </c:pt>
                <c:pt idx="318">
                  <c:v>2.4693017213064259</c:v>
                </c:pt>
                <c:pt idx="319">
                  <c:v>2.4693880909581827</c:v>
                </c:pt>
                <c:pt idx="320">
                  <c:v>2.495495631103998</c:v>
                </c:pt>
                <c:pt idx="321">
                  <c:v>2.5116792859933876</c:v>
                </c:pt>
                <c:pt idx="322">
                  <c:v>2.4724915073618972</c:v>
                </c:pt>
                <c:pt idx="323">
                  <c:v>2.4436475061422618</c:v>
                </c:pt>
                <c:pt idx="324">
                  <c:v>2.4149941874183392</c:v>
                </c:pt>
                <c:pt idx="325">
                  <c:v>2.4567524924234214</c:v>
                </c:pt>
                <c:pt idx="326">
                  <c:v>2.3964518041146969</c:v>
                </c:pt>
                <c:pt idx="327">
                  <c:v>2.4022308125087073</c:v>
                </c:pt>
                <c:pt idx="328">
                  <c:v>2.3458396101196448</c:v>
                </c:pt>
                <c:pt idx="329">
                  <c:v>2.3557742767302878</c:v>
                </c:pt>
                <c:pt idx="330">
                  <c:v>2.3050916329376623</c:v>
                </c:pt>
                <c:pt idx="331">
                  <c:v>2.253057876469533</c:v>
                </c:pt>
                <c:pt idx="332">
                  <c:v>2.2939550574030916</c:v>
                </c:pt>
                <c:pt idx="333">
                  <c:v>2.2690706067217148</c:v>
                </c:pt>
                <c:pt idx="334">
                  <c:v>2.2112979091659817</c:v>
                </c:pt>
                <c:pt idx="335">
                  <c:v>2.2124010053509142</c:v>
                </c:pt>
                <c:pt idx="336">
                  <c:v>2.1401463567961776</c:v>
                </c:pt>
                <c:pt idx="337">
                  <c:v>2.195119927789476</c:v>
                </c:pt>
                <c:pt idx="338">
                  <c:v>2.118442543286561</c:v>
                </c:pt>
                <c:pt idx="339">
                  <c:v>2.1654616613734268</c:v>
                </c:pt>
                <c:pt idx="340">
                  <c:v>2.1482734103680743</c:v>
                </c:pt>
                <c:pt idx="341">
                  <c:v>2.1782644567916152</c:v>
                </c:pt>
                <c:pt idx="342">
                  <c:v>2.2151521703954424</c:v>
                </c:pt>
                <c:pt idx="343">
                  <c:v>2.2243615343093452</c:v>
                </c:pt>
                <c:pt idx="344">
                  <c:v>2.1843356281302557</c:v>
                </c:pt>
                <c:pt idx="345">
                  <c:v>2.1399111578798284</c:v>
                </c:pt>
                <c:pt idx="346">
                  <c:v>2.1133855893445204</c:v>
                </c:pt>
                <c:pt idx="347">
                  <c:v>1.996784049090133</c:v>
                </c:pt>
                <c:pt idx="348">
                  <c:v>1.9804926199070876</c:v>
                </c:pt>
                <c:pt idx="349">
                  <c:v>1.8913511777366967</c:v>
                </c:pt>
                <c:pt idx="350">
                  <c:v>1.896504241785282</c:v>
                </c:pt>
                <c:pt idx="351">
                  <c:v>1.8651638591426905</c:v>
                </c:pt>
                <c:pt idx="352">
                  <c:v>1.8537245418278914</c:v>
                </c:pt>
                <c:pt idx="353">
                  <c:v>1.8794214553060968</c:v>
                </c:pt>
                <c:pt idx="354">
                  <c:v>1.8630743257594433</c:v>
                </c:pt>
                <c:pt idx="355">
                  <c:v>1.8730322711898235</c:v>
                </c:pt>
                <c:pt idx="356">
                  <c:v>1.7698217661108913</c:v>
                </c:pt>
                <c:pt idx="357">
                  <c:v>1.8518946804293348</c:v>
                </c:pt>
                <c:pt idx="358">
                  <c:v>1.9016663335195232</c:v>
                </c:pt>
                <c:pt idx="359">
                  <c:v>1.9748729946216297</c:v>
                </c:pt>
                <c:pt idx="360">
                  <c:v>1.899204864326119</c:v>
                </c:pt>
                <c:pt idx="361">
                  <c:v>1.9596365983565447</c:v>
                </c:pt>
                <c:pt idx="362">
                  <c:v>2.0432135872407944</c:v>
                </c:pt>
                <c:pt idx="363">
                  <c:v>1.9825674101896176</c:v>
                </c:pt>
                <c:pt idx="364">
                  <c:v>2.0017319435967984</c:v>
                </c:pt>
                <c:pt idx="365">
                  <c:v>2.0689976906848782</c:v>
                </c:pt>
                <c:pt idx="366">
                  <c:v>2.1233049862640678</c:v>
                </c:pt>
                <c:pt idx="367">
                  <c:v>2.1138125931640497</c:v>
                </c:pt>
                <c:pt idx="368">
                  <c:v>2.0214572770142625</c:v>
                </c:pt>
                <c:pt idx="369">
                  <c:v>2.0078424397283685</c:v>
                </c:pt>
                <c:pt idx="370">
                  <c:v>1.9168726567024954</c:v>
                </c:pt>
                <c:pt idx="371">
                  <c:v>1.9306088906625372</c:v>
                </c:pt>
                <c:pt idx="372">
                  <c:v>1.9169245786004867</c:v>
                </c:pt>
                <c:pt idx="373">
                  <c:v>1.8457961632873463</c:v>
                </c:pt>
                <c:pt idx="374">
                  <c:v>1.8292216157539398</c:v>
                </c:pt>
                <c:pt idx="375">
                  <c:v>1.8176349128584202</c:v>
                </c:pt>
                <c:pt idx="376">
                  <c:v>1.873316157921677</c:v>
                </c:pt>
                <c:pt idx="377">
                  <c:v>1.8594096025420999</c:v>
                </c:pt>
                <c:pt idx="378">
                  <c:v>1.9008287444107292</c:v>
                </c:pt>
                <c:pt idx="379">
                  <c:v>1.9591438780083013</c:v>
                </c:pt>
                <c:pt idx="380">
                  <c:v>1.9510758265202768</c:v>
                </c:pt>
                <c:pt idx="381">
                  <c:v>1.92254811068335</c:v>
                </c:pt>
                <c:pt idx="382">
                  <c:v>1.9234871248009073</c:v>
                </c:pt>
                <c:pt idx="383">
                  <c:v>1.9442473483871998</c:v>
                </c:pt>
                <c:pt idx="384">
                  <c:v>1.9547170808278518</c:v>
                </c:pt>
                <c:pt idx="385">
                  <c:v>2.0053702007044185</c:v>
                </c:pt>
                <c:pt idx="386">
                  <c:v>2.0081681598893351</c:v>
                </c:pt>
                <c:pt idx="387">
                  <c:v>2.0300544631255635</c:v>
                </c:pt>
                <c:pt idx="388">
                  <c:v>2.0003756867445484</c:v>
                </c:pt>
                <c:pt idx="389">
                  <c:v>1.9957671371759116</c:v>
                </c:pt>
                <c:pt idx="390">
                  <c:v>1.9957671371759118</c:v>
                </c:pt>
                <c:pt idx="391">
                  <c:v>1.9962882112145213</c:v>
                </c:pt>
                <c:pt idx="392">
                  <c:v>1.932970055071811</c:v>
                </c:pt>
                <c:pt idx="393">
                  <c:v>1.8870288784467675</c:v>
                </c:pt>
                <c:pt idx="394">
                  <c:v>1.8611631301219309</c:v>
                </c:pt>
                <c:pt idx="395">
                  <c:v>1.7977143184162883</c:v>
                </c:pt>
                <c:pt idx="396">
                  <c:v>1.7743640838037802</c:v>
                </c:pt>
                <c:pt idx="397">
                  <c:v>1.7357835289157775</c:v>
                </c:pt>
                <c:pt idx="398">
                  <c:v>1.852556770166031</c:v>
                </c:pt>
                <c:pt idx="399">
                  <c:v>1.8707246645247428</c:v>
                </c:pt>
                <c:pt idx="400">
                  <c:v>1.9810760266600296</c:v>
                </c:pt>
                <c:pt idx="401">
                  <c:v>2.029536278671245</c:v>
                </c:pt>
                <c:pt idx="402">
                  <c:v>2.0162720262096241</c:v>
                </c:pt>
                <c:pt idx="403">
                  <c:v>2.0147323739645397</c:v>
                </c:pt>
                <c:pt idx="404">
                  <c:v>2.0926970977201553</c:v>
                </c:pt>
                <c:pt idx="405">
                  <c:v>2.0921371717544646</c:v>
                </c:pt>
                <c:pt idx="406">
                  <c:v>2.1163560110446338</c:v>
                </c:pt>
                <c:pt idx="407">
                  <c:v>2.0920720978231127</c:v>
                </c:pt>
                <c:pt idx="408">
                  <c:v>2.0741453878695277</c:v>
                </c:pt>
                <c:pt idx="409">
                  <c:v>2.0352133324177775</c:v>
                </c:pt>
                <c:pt idx="410">
                  <c:v>1.9821332939328027</c:v>
                </c:pt>
                <c:pt idx="411">
                  <c:v>1.9810275804726782</c:v>
                </c:pt>
                <c:pt idx="412">
                  <c:v>2.0375342257594156</c:v>
                </c:pt>
                <c:pt idx="413">
                  <c:v>2.0289906322776421</c:v>
                </c:pt>
                <c:pt idx="414">
                  <c:v>2.1124199297618809</c:v>
                </c:pt>
                <c:pt idx="415">
                  <c:v>2.062952720484112</c:v>
                </c:pt>
                <c:pt idx="416">
                  <c:v>2.0367038188136384</c:v>
                </c:pt>
                <c:pt idx="417">
                  <c:v>2.0333586961748877</c:v>
                </c:pt>
                <c:pt idx="418">
                  <c:v>1.9950854039685173</c:v>
                </c:pt>
                <c:pt idx="419">
                  <c:v>2.0706336427706193</c:v>
                </c:pt>
                <c:pt idx="420">
                  <c:v>2.1226782811814515</c:v>
                </c:pt>
                <c:pt idx="421">
                  <c:v>2.1502688004011237</c:v>
                </c:pt>
                <c:pt idx="422">
                  <c:v>2.129082285886672</c:v>
                </c:pt>
                <c:pt idx="423">
                  <c:v>2.1918694836346653</c:v>
                </c:pt>
                <c:pt idx="424">
                  <c:v>2.1884629997450249</c:v>
                </c:pt>
                <c:pt idx="425">
                  <c:v>2.1894405789780751</c:v>
                </c:pt>
                <c:pt idx="426">
                  <c:v>2.184995405746109</c:v>
                </c:pt>
                <c:pt idx="427">
                  <c:v>2.199571951280892</c:v>
                </c:pt>
                <c:pt idx="428">
                  <c:v>2.2742526259553668</c:v>
                </c:pt>
                <c:pt idx="429">
                  <c:v>2.210159201684792</c:v>
                </c:pt>
                <c:pt idx="430">
                  <c:v>2.236348059614031</c:v>
                </c:pt>
                <c:pt idx="431">
                  <c:v>2.2045680985625453</c:v>
                </c:pt>
                <c:pt idx="432">
                  <c:v>2.1894652563922365</c:v>
                </c:pt>
                <c:pt idx="433">
                  <c:v>2.1819693658926842</c:v>
                </c:pt>
                <c:pt idx="434">
                  <c:v>2.1805499735502716</c:v>
                </c:pt>
                <c:pt idx="435">
                  <c:v>2.1155592321318517</c:v>
                </c:pt>
                <c:pt idx="436">
                  <c:v>2.1703140829606289</c:v>
                </c:pt>
                <c:pt idx="437">
                  <c:v>2.1539811016655959</c:v>
                </c:pt>
                <c:pt idx="438">
                  <c:v>2.1564852208984497</c:v>
                </c:pt>
                <c:pt idx="439">
                  <c:v>2.2064338034154853</c:v>
                </c:pt>
                <c:pt idx="440">
                  <c:v>2.1966483602260873</c:v>
                </c:pt>
                <c:pt idx="441">
                  <c:v>2.2233591806965487</c:v>
                </c:pt>
                <c:pt idx="442">
                  <c:v>2.2239690222735446</c:v>
                </c:pt>
                <c:pt idx="443">
                  <c:v>2.2271837913897379</c:v>
                </c:pt>
                <c:pt idx="444">
                  <c:v>2.2966518658569277</c:v>
                </c:pt>
                <c:pt idx="445">
                  <c:v>2.2043051032425018</c:v>
                </c:pt>
                <c:pt idx="446">
                  <c:v>2.2210405756718576</c:v>
                </c:pt>
                <c:pt idx="447">
                  <c:v>2.1905973584012841</c:v>
                </c:pt>
                <c:pt idx="448">
                  <c:v>2.1763690506747109</c:v>
                </c:pt>
                <c:pt idx="449">
                  <c:v>2.1602860611482217</c:v>
                </c:pt>
                <c:pt idx="450">
                  <c:v>2.1331186020074382</c:v>
                </c:pt>
                <c:pt idx="451">
                  <c:v>2.1003682504559364</c:v>
                </c:pt>
                <c:pt idx="452">
                  <c:v>2.0636373540719615</c:v>
                </c:pt>
                <c:pt idx="453">
                  <c:v>2.0706693493293904</c:v>
                </c:pt>
                <c:pt idx="454">
                  <c:v>1.9720773645542111</c:v>
                </c:pt>
                <c:pt idx="455">
                  <c:v>2.0595195801674353</c:v>
                </c:pt>
                <c:pt idx="456">
                  <c:v>2.076003995334073</c:v>
                </c:pt>
                <c:pt idx="457">
                  <c:v>2.1410475472680006</c:v>
                </c:pt>
                <c:pt idx="458">
                  <c:v>2.1703774660943522</c:v>
                </c:pt>
                <c:pt idx="459">
                  <c:v>2.112091437609811</c:v>
                </c:pt>
                <c:pt idx="460">
                  <c:v>2.1124683914928615</c:v>
                </c:pt>
                <c:pt idx="461">
                  <c:v>2.1119389541169631</c:v>
                </c:pt>
                <c:pt idx="462">
                  <c:v>2.0722315951359933</c:v>
                </c:pt>
                <c:pt idx="463">
                  <c:v>2.1088087585566635</c:v>
                </c:pt>
                <c:pt idx="464">
                  <c:v>2.1233766361881203</c:v>
                </c:pt>
                <c:pt idx="465">
                  <c:v>2.2135637712630172</c:v>
                </c:pt>
                <c:pt idx="466">
                  <c:v>2.2619422696534515</c:v>
                </c:pt>
                <c:pt idx="467">
                  <c:v>2.2440160264078086</c:v>
                </c:pt>
                <c:pt idx="468">
                  <c:v>2.2424002006584196</c:v>
                </c:pt>
                <c:pt idx="469">
                  <c:v>2.2577780879895819</c:v>
                </c:pt>
                <c:pt idx="470">
                  <c:v>2.2808569359375723</c:v>
                </c:pt>
                <c:pt idx="471">
                  <c:v>2.2998143415305616</c:v>
                </c:pt>
                <c:pt idx="472">
                  <c:v>2.2675569733108212</c:v>
                </c:pt>
                <c:pt idx="473">
                  <c:v>2.2758947233926694</c:v>
                </c:pt>
                <c:pt idx="474">
                  <c:v>2.2284701232057045</c:v>
                </c:pt>
                <c:pt idx="475">
                  <c:v>2.181018589227222</c:v>
                </c:pt>
                <c:pt idx="476">
                  <c:v>2.1901059600475214</c:v>
                </c:pt>
                <c:pt idx="477">
                  <c:v>2.1684372998704164</c:v>
                </c:pt>
                <c:pt idx="478">
                  <c:v>2.1677624801724575</c:v>
                </c:pt>
                <c:pt idx="479">
                  <c:v>2.1823003703081816</c:v>
                </c:pt>
                <c:pt idx="480">
                  <c:v>2.1700054936637572</c:v>
                </c:pt>
                <c:pt idx="481">
                  <c:v>2.1308122377810568</c:v>
                </c:pt>
                <c:pt idx="482">
                  <c:v>2.0443557383161779</c:v>
                </c:pt>
                <c:pt idx="483">
                  <c:v>2.0255060706559953</c:v>
                </c:pt>
                <c:pt idx="484">
                  <c:v>1.9850959827187358</c:v>
                </c:pt>
                <c:pt idx="485">
                  <c:v>1.9570714995951692</c:v>
                </c:pt>
                <c:pt idx="486">
                  <c:v>1.9372606791419729</c:v>
                </c:pt>
                <c:pt idx="487">
                  <c:v>1.8697633351181577</c:v>
                </c:pt>
                <c:pt idx="488">
                  <c:v>1.8490590265717746</c:v>
                </c:pt>
                <c:pt idx="489">
                  <c:v>1.8890768625224212</c:v>
                </c:pt>
                <c:pt idx="490">
                  <c:v>1.919230532444131</c:v>
                </c:pt>
                <c:pt idx="491">
                  <c:v>1.9516700302226517</c:v>
                </c:pt>
                <c:pt idx="492">
                  <c:v>1.9719715568049601</c:v>
                </c:pt>
                <c:pt idx="493">
                  <c:v>1.9500870289807466</c:v>
                </c:pt>
                <c:pt idx="494">
                  <c:v>1.8373277377842212</c:v>
                </c:pt>
                <c:pt idx="495">
                  <c:v>1.8449176033901025</c:v>
                </c:pt>
                <c:pt idx="496">
                  <c:v>1.7689263711448246</c:v>
                </c:pt>
                <c:pt idx="497">
                  <c:v>1.7360216764191263</c:v>
                </c:pt>
                <c:pt idx="498">
                  <c:v>1.6985063563410312</c:v>
                </c:pt>
                <c:pt idx="499">
                  <c:v>1.688264362930104</c:v>
                </c:pt>
                <c:pt idx="500">
                  <c:v>1.6476560506399225</c:v>
                </c:pt>
                <c:pt idx="501">
                  <c:v>1.6342669308638675</c:v>
                </c:pt>
                <c:pt idx="502">
                  <c:v>1.6360295086265872</c:v>
                </c:pt>
                <c:pt idx="503">
                  <c:v>1.7180894946413316</c:v>
                </c:pt>
                <c:pt idx="504">
                  <c:v>1.8084148223111822</c:v>
                </c:pt>
                <c:pt idx="505">
                  <c:v>1.8090118709309537</c:v>
                </c:pt>
                <c:pt idx="506">
                  <c:v>1.8581120707403274</c:v>
                </c:pt>
                <c:pt idx="507">
                  <c:v>1.8556751968833582</c:v>
                </c:pt>
                <c:pt idx="508">
                  <c:v>1.9071043054735943</c:v>
                </c:pt>
                <c:pt idx="509">
                  <c:v>1.9637636177585278</c:v>
                </c:pt>
                <c:pt idx="510">
                  <c:v>2.0710289555826629</c:v>
                </c:pt>
                <c:pt idx="511">
                  <c:v>2.1370484957047342</c:v>
                </c:pt>
                <c:pt idx="512">
                  <c:v>2.1475732203332298</c:v>
                </c:pt>
                <c:pt idx="513">
                  <c:v>2.1529679398376782</c:v>
                </c:pt>
                <c:pt idx="514">
                  <c:v>2.137347208121648</c:v>
                </c:pt>
                <c:pt idx="515">
                  <c:v>2.1292756109086772</c:v>
                </c:pt>
                <c:pt idx="516">
                  <c:v>2.1496099394246695</c:v>
                </c:pt>
                <c:pt idx="517">
                  <c:v>2.1884953220507177</c:v>
                </c:pt>
                <c:pt idx="518">
                  <c:v>2.1400747700320299</c:v>
                </c:pt>
                <c:pt idx="519">
                  <c:v>2.1883512485976646</c:v>
                </c:pt>
                <c:pt idx="520">
                  <c:v>2.1698334901374907</c:v>
                </c:pt>
                <c:pt idx="521">
                  <c:v>2.1087949365928544</c:v>
                </c:pt>
                <c:pt idx="522">
                  <c:v>2.069363255950857</c:v>
                </c:pt>
                <c:pt idx="523">
                  <c:v>2.0523044205574497</c:v>
                </c:pt>
                <c:pt idx="524">
                  <c:v>2.1219396601796121</c:v>
                </c:pt>
                <c:pt idx="525">
                  <c:v>2.1201947567267521</c:v>
                </c:pt>
                <c:pt idx="526">
                  <c:v>2.1001605859561114</c:v>
                </c:pt>
                <c:pt idx="527">
                  <c:v>2.1130049299095566</c:v>
                </c:pt>
                <c:pt idx="528">
                  <c:v>2.0933416085341725</c:v>
                </c:pt>
                <c:pt idx="529">
                  <c:v>2.0359345309656658</c:v>
                </c:pt>
                <c:pt idx="530">
                  <c:v>2.0983506490926596</c:v>
                </c:pt>
                <c:pt idx="531">
                  <c:v>2.0826402863952911</c:v>
                </c:pt>
                <c:pt idx="532">
                  <c:v>2.0698230412334264</c:v>
                </c:pt>
                <c:pt idx="533">
                  <c:v>2.0256741853249678</c:v>
                </c:pt>
                <c:pt idx="534">
                  <c:v>1.9073954208262529</c:v>
                </c:pt>
                <c:pt idx="535">
                  <c:v>1.8960676683234319</c:v>
                </c:pt>
                <c:pt idx="536">
                  <c:v>1.908822771282713</c:v>
                </c:pt>
                <c:pt idx="537">
                  <c:v>2.016943954738351</c:v>
                </c:pt>
                <c:pt idx="538">
                  <c:v>2.1289495525865449</c:v>
                </c:pt>
                <c:pt idx="539">
                  <c:v>2.0315471596990355</c:v>
                </c:pt>
                <c:pt idx="540">
                  <c:v>2.0233282685966802</c:v>
                </c:pt>
                <c:pt idx="541">
                  <c:v>2.1077816410131591</c:v>
                </c:pt>
                <c:pt idx="542">
                  <c:v>2.132312583487991</c:v>
                </c:pt>
                <c:pt idx="543">
                  <c:v>2.1746284274914545</c:v>
                </c:pt>
                <c:pt idx="544">
                  <c:v>2.2645232179823074</c:v>
                </c:pt>
                <c:pt idx="545">
                  <c:v>2.2654469512479225</c:v>
                </c:pt>
                <c:pt idx="546">
                  <c:v>2.2983139957287739</c:v>
                </c:pt>
                <c:pt idx="547">
                  <c:v>2.2983139957287739</c:v>
                </c:pt>
                <c:pt idx="548">
                  <c:v>2.2550965807006058</c:v>
                </c:pt>
                <c:pt idx="549">
                  <c:v>2.2777277540729521</c:v>
                </c:pt>
                <c:pt idx="550">
                  <c:v>2.2511449144275741</c:v>
                </c:pt>
                <c:pt idx="551">
                  <c:v>2.2424735932853794</c:v>
                </c:pt>
                <c:pt idx="552">
                  <c:v>2.2446457517359959</c:v>
                </c:pt>
                <c:pt idx="553">
                  <c:v>2.2366412975633905</c:v>
                </c:pt>
                <c:pt idx="554">
                  <c:v>2.2901946162010813</c:v>
                </c:pt>
                <c:pt idx="555">
                  <c:v>2.257440829940899</c:v>
                </c:pt>
                <c:pt idx="556">
                  <c:v>2.3168535093852913</c:v>
                </c:pt>
                <c:pt idx="557">
                  <c:v>2.322669261814482</c:v>
                </c:pt>
                <c:pt idx="558">
                  <c:v>2.2897769083982196</c:v>
                </c:pt>
                <c:pt idx="559">
                  <c:v>2.3625798074696029</c:v>
                </c:pt>
                <c:pt idx="560">
                  <c:v>2.3681208679863306</c:v>
                </c:pt>
                <c:pt idx="561">
                  <c:v>2.3622933247304636</c:v>
                </c:pt>
                <c:pt idx="562">
                  <c:v>2.4710292600127115</c:v>
                </c:pt>
                <c:pt idx="563">
                  <c:v>2.5148932018243317</c:v>
                </c:pt>
                <c:pt idx="564">
                  <c:v>2.5021571072342463</c:v>
                </c:pt>
                <c:pt idx="565">
                  <c:v>2.4406632520902938</c:v>
                </c:pt>
                <c:pt idx="566">
                  <c:v>2.4452744067641405</c:v>
                </c:pt>
                <c:pt idx="567">
                  <c:v>2.4097858788430768</c:v>
                </c:pt>
                <c:pt idx="568">
                  <c:v>2.4083381032984472</c:v>
                </c:pt>
                <c:pt idx="569">
                  <c:v>2.3479008513001074</c:v>
                </c:pt>
                <c:pt idx="570">
                  <c:v>2.3307401771526912</c:v>
                </c:pt>
                <c:pt idx="571">
                  <c:v>2.3691820047318792</c:v>
                </c:pt>
                <c:pt idx="572">
                  <c:v>2.300396652284634</c:v>
                </c:pt>
                <c:pt idx="573">
                  <c:v>2.3358951038509406</c:v>
                </c:pt>
                <c:pt idx="574">
                  <c:v>2.3708021313332792</c:v>
                </c:pt>
                <c:pt idx="575">
                  <c:v>2.3214590140998754</c:v>
                </c:pt>
                <c:pt idx="576">
                  <c:v>2.3254357975332938</c:v>
                </c:pt>
                <c:pt idx="577">
                  <c:v>2.3190147048050238</c:v>
                </c:pt>
                <c:pt idx="578">
                  <c:v>2.2694247755482873</c:v>
                </c:pt>
                <c:pt idx="579">
                  <c:v>2.2714030942021721</c:v>
                </c:pt>
                <c:pt idx="580">
                  <c:v>2.273452865600472</c:v>
                </c:pt>
                <c:pt idx="581">
                  <c:v>2.2389316808550639</c:v>
                </c:pt>
                <c:pt idx="582">
                  <c:v>2.2489215006556504</c:v>
                </c:pt>
                <c:pt idx="583">
                  <c:v>2.2528253142183905</c:v>
                </c:pt>
                <c:pt idx="584">
                  <c:v>2.2822751545159159</c:v>
                </c:pt>
                <c:pt idx="585">
                  <c:v>2.1980605913983897</c:v>
                </c:pt>
                <c:pt idx="586">
                  <c:v>2.1796572876858886</c:v>
                </c:pt>
                <c:pt idx="587">
                  <c:v>2.0714350038576201</c:v>
                </c:pt>
                <c:pt idx="588">
                  <c:v>2.0451463654012598</c:v>
                </c:pt>
                <c:pt idx="589">
                  <c:v>2.0726413523376137</c:v>
                </c:pt>
                <c:pt idx="590">
                  <c:v>2.033921696025867</c:v>
                </c:pt>
                <c:pt idx="591">
                  <c:v>1.9175618053528978</c:v>
                </c:pt>
                <c:pt idx="592">
                  <c:v>1.7994234687943773</c:v>
                </c:pt>
                <c:pt idx="593">
                  <c:v>1.7284432932258589</c:v>
                </c:pt>
                <c:pt idx="594">
                  <c:v>1.7261796201569108</c:v>
                </c:pt>
                <c:pt idx="595">
                  <c:v>1.8265078180949288</c:v>
                </c:pt>
                <c:pt idx="596">
                  <c:v>1.9214828466233034</c:v>
                </c:pt>
                <c:pt idx="597">
                  <c:v>2.0060590703835968</c:v>
                </c:pt>
                <c:pt idx="598">
                  <c:v>2.0602660866112963</c:v>
                </c:pt>
                <c:pt idx="599">
                  <c:v>1.9960504858316581</c:v>
                </c:pt>
                <c:pt idx="600">
                  <c:v>2.0546954503676842</c:v>
                </c:pt>
                <c:pt idx="601">
                  <c:v>2.0457796200902756</c:v>
                </c:pt>
                <c:pt idx="602">
                  <c:v>2.1330957723412856</c:v>
                </c:pt>
                <c:pt idx="603">
                  <c:v>2.1665475703652666</c:v>
                </c:pt>
                <c:pt idx="604">
                  <c:v>2.1865523743737101</c:v>
                </c:pt>
                <c:pt idx="605">
                  <c:v>2.16562088112491</c:v>
                </c:pt>
                <c:pt idx="606">
                  <c:v>2.1680484352512286</c:v>
                </c:pt>
                <c:pt idx="607">
                  <c:v>2.1576715301598974</c:v>
                </c:pt>
                <c:pt idx="608">
                  <c:v>2.1793374623123114</c:v>
                </c:pt>
                <c:pt idx="609">
                  <c:v>2.2024322691323603</c:v>
                </c:pt>
                <c:pt idx="610">
                  <c:v>2.2893842774159148</c:v>
                </c:pt>
                <c:pt idx="611">
                  <c:v>2.1975863900030634</c:v>
                </c:pt>
                <c:pt idx="612">
                  <c:v>2.1957280611798895</c:v>
                </c:pt>
                <c:pt idx="613">
                  <c:v>2.1213046760983549</c:v>
                </c:pt>
                <c:pt idx="614">
                  <c:v>2.1388517779243896</c:v>
                </c:pt>
                <c:pt idx="615">
                  <c:v>2.0058478445291184</c:v>
                </c:pt>
                <c:pt idx="616">
                  <c:v>1.9856438453292888</c:v>
                </c:pt>
                <c:pt idx="617">
                  <c:v>1.9547208996253971</c:v>
                </c:pt>
                <c:pt idx="618">
                  <c:v>1.9742578671518154</c:v>
                </c:pt>
                <c:pt idx="619">
                  <c:v>1.8521100294964692</c:v>
                </c:pt>
                <c:pt idx="620">
                  <c:v>1.8674933742078943</c:v>
                </c:pt>
                <c:pt idx="621">
                  <c:v>1.9593579617173589</c:v>
                </c:pt>
                <c:pt idx="622">
                  <c:v>1.920482144208151</c:v>
                </c:pt>
                <c:pt idx="623">
                  <c:v>1.8926920310764059</c:v>
                </c:pt>
                <c:pt idx="624">
                  <c:v>1.8313173602064861</c:v>
                </c:pt>
                <c:pt idx="625">
                  <c:v>1.8350916493229243</c:v>
                </c:pt>
                <c:pt idx="626">
                  <c:v>1.8367528598479439</c:v>
                </c:pt>
                <c:pt idx="627">
                  <c:v>1.8562957259262018</c:v>
                </c:pt>
                <c:pt idx="628">
                  <c:v>1.8532063476568026</c:v>
                </c:pt>
                <c:pt idx="629">
                  <c:v>1.8850940739507356</c:v>
                </c:pt>
                <c:pt idx="630">
                  <c:v>1.8714049750033874</c:v>
                </c:pt>
                <c:pt idx="631">
                  <c:v>1.6342995562457356</c:v>
                </c:pt>
                <c:pt idx="632">
                  <c:v>1.5107720087958652</c:v>
                </c:pt>
                <c:pt idx="633">
                  <c:v>1.4957259526656772</c:v>
                </c:pt>
                <c:pt idx="634">
                  <c:v>1.5053833314128626</c:v>
                </c:pt>
                <c:pt idx="635">
                  <c:v>1.5440405238372967</c:v>
                </c:pt>
                <c:pt idx="636">
                  <c:v>1.5364477930758895</c:v>
                </c:pt>
                <c:pt idx="637">
                  <c:v>1.5846199387010287</c:v>
                </c:pt>
                <c:pt idx="638">
                  <c:v>1.575812240573726</c:v>
                </c:pt>
                <c:pt idx="639">
                  <c:v>1.6311734785934042</c:v>
                </c:pt>
                <c:pt idx="640">
                  <c:v>1.6509375979900396</c:v>
                </c:pt>
                <c:pt idx="641">
                  <c:v>1.6562958955108777</c:v>
                </c:pt>
                <c:pt idx="642">
                  <c:v>1.6309250340588881</c:v>
                </c:pt>
                <c:pt idx="643">
                  <c:v>1.6475358806159579</c:v>
                </c:pt>
                <c:pt idx="644">
                  <c:v>1.6163964801649031</c:v>
                </c:pt>
                <c:pt idx="645">
                  <c:v>1.6840831753430068</c:v>
                </c:pt>
                <c:pt idx="646">
                  <c:v>1.9687103627281386</c:v>
                </c:pt>
                <c:pt idx="647">
                  <c:v>1.947509169833787</c:v>
                </c:pt>
                <c:pt idx="648">
                  <c:v>1.9196840582496209</c:v>
                </c:pt>
                <c:pt idx="649">
                  <c:v>2.0508949480596357</c:v>
                </c:pt>
                <c:pt idx="650">
                  <c:v>2.0825825964505786</c:v>
                </c:pt>
                <c:pt idx="651">
                  <c:v>2.3042410255852239</c:v>
                </c:pt>
                <c:pt idx="652">
                  <c:v>2.2278610350762733</c:v>
                </c:pt>
                <c:pt idx="653">
                  <c:v>2.2297335538845795</c:v>
                </c:pt>
                <c:pt idx="654">
                  <c:v>2.2511016488051694</c:v>
                </c:pt>
                <c:pt idx="655">
                  <c:v>2.3462953625608725</c:v>
                </c:pt>
                <c:pt idx="656">
                  <c:v>2.3513003902696368</c:v>
                </c:pt>
                <c:pt idx="657">
                  <c:v>2.3396709705853596</c:v>
                </c:pt>
                <c:pt idx="658">
                  <c:v>2.3256858592844631</c:v>
                </c:pt>
                <c:pt idx="659">
                  <c:v>2.3392479657049297</c:v>
                </c:pt>
                <c:pt idx="660">
                  <c:v>2.3606667562345462</c:v>
                </c:pt>
                <c:pt idx="661">
                  <c:v>2.3603979620090025</c:v>
                </c:pt>
                <c:pt idx="662">
                  <c:v>2.3602124234332771</c:v>
                </c:pt>
                <c:pt idx="663">
                  <c:v>2.4736147852383117</c:v>
                </c:pt>
                <c:pt idx="664">
                  <c:v>2.4120546516209931</c:v>
                </c:pt>
                <c:pt idx="665">
                  <c:v>2.4222492783966989</c:v>
                </c:pt>
                <c:pt idx="666">
                  <c:v>2.5170611648292023</c:v>
                </c:pt>
                <c:pt idx="667">
                  <c:v>2.5032506015495146</c:v>
                </c:pt>
                <c:pt idx="668">
                  <c:v>2.471685134887748</c:v>
                </c:pt>
                <c:pt idx="669">
                  <c:v>2.5053267697861474</c:v>
                </c:pt>
                <c:pt idx="670">
                  <c:v>2.5408819423685656</c:v>
                </c:pt>
                <c:pt idx="671">
                  <c:v>2.4751803426428762</c:v>
                </c:pt>
                <c:pt idx="672">
                  <c:v>2.3877582574738097</c:v>
                </c:pt>
                <c:pt idx="673">
                  <c:v>2.3484801690111983</c:v>
                </c:pt>
                <c:pt idx="674">
                  <c:v>2.368951689459641</c:v>
                </c:pt>
                <c:pt idx="675">
                  <c:v>2.3925984093273986</c:v>
                </c:pt>
                <c:pt idx="676">
                  <c:v>2.4196992130272967</c:v>
                </c:pt>
                <c:pt idx="677">
                  <c:v>2.359090899673594</c:v>
                </c:pt>
                <c:pt idx="678">
                  <c:v>2.3637061422890517</c:v>
                </c:pt>
                <c:pt idx="679">
                  <c:v>2.3887326973532623</c:v>
                </c:pt>
                <c:pt idx="680">
                  <c:v>2.4076409070713494</c:v>
                </c:pt>
                <c:pt idx="681">
                  <c:v>2.4168496760669393</c:v>
                </c:pt>
                <c:pt idx="682">
                  <c:v>2.3337489315172002</c:v>
                </c:pt>
                <c:pt idx="683">
                  <c:v>2.3481068910381531</c:v>
                </c:pt>
                <c:pt idx="684">
                  <c:v>2.3490631268614863</c:v>
                </c:pt>
                <c:pt idx="685">
                  <c:v>2.4267143799696482</c:v>
                </c:pt>
                <c:pt idx="686">
                  <c:v>2.3600396727028827</c:v>
                </c:pt>
                <c:pt idx="687">
                  <c:v>2.3279022242487932</c:v>
                </c:pt>
                <c:pt idx="688">
                  <c:v>2.3240778718285844</c:v>
                </c:pt>
                <c:pt idx="689">
                  <c:v>2.2596769401424224</c:v>
                </c:pt>
                <c:pt idx="690">
                  <c:v>2.3158762997265065</c:v>
                </c:pt>
                <c:pt idx="691">
                  <c:v>2.3739574643361983</c:v>
                </c:pt>
                <c:pt idx="692">
                  <c:v>2.4378682563090881</c:v>
                </c:pt>
                <c:pt idx="693">
                  <c:v>2.4267278559270746</c:v>
                </c:pt>
                <c:pt idx="694">
                  <c:v>2.3904674576975933</c:v>
                </c:pt>
                <c:pt idx="695">
                  <c:v>2.3543145755756147</c:v>
                </c:pt>
                <c:pt idx="696">
                  <c:v>2.3969952160857479</c:v>
                </c:pt>
                <c:pt idx="697">
                  <c:v>2.3358798864756678</c:v>
                </c:pt>
                <c:pt idx="698">
                  <c:v>2.3364845486777548</c:v>
                </c:pt>
                <c:pt idx="699">
                  <c:v>2.2568945287473268</c:v>
                </c:pt>
                <c:pt idx="700">
                  <c:v>2.176030446569813</c:v>
                </c:pt>
                <c:pt idx="701">
                  <c:v>2.1625996185387542</c:v>
                </c:pt>
                <c:pt idx="702">
                  <c:v>2.1366248046514311</c:v>
                </c:pt>
                <c:pt idx="703">
                  <c:v>2.0556949699056264</c:v>
                </c:pt>
                <c:pt idx="704">
                  <c:v>2.0337140631821069</c:v>
                </c:pt>
                <c:pt idx="705">
                  <c:v>1.97859118298948</c:v>
                </c:pt>
                <c:pt idx="706">
                  <c:v>1.9141083811718906</c:v>
                </c:pt>
                <c:pt idx="707">
                  <c:v>1.9351112292714685</c:v>
                </c:pt>
                <c:pt idx="708">
                  <c:v>1.92506670255742</c:v>
                </c:pt>
                <c:pt idx="709">
                  <c:v>1.9735080057479983</c:v>
                </c:pt>
                <c:pt idx="710">
                  <c:v>1.9056180300427641</c:v>
                </c:pt>
                <c:pt idx="711">
                  <c:v>1.8672257354257802</c:v>
                </c:pt>
                <c:pt idx="712">
                  <c:v>1.865911159648471</c:v>
                </c:pt>
                <c:pt idx="713">
                  <c:v>1.8630514305086063</c:v>
                </c:pt>
                <c:pt idx="714">
                  <c:v>1.8882660677345078</c:v>
                </c:pt>
                <c:pt idx="715">
                  <c:v>1.9892005595414848</c:v>
                </c:pt>
                <c:pt idx="716">
                  <c:v>1.9055574058333045</c:v>
                </c:pt>
                <c:pt idx="717">
                  <c:v>1.9036324703694076</c:v>
                </c:pt>
                <c:pt idx="718">
                  <c:v>1.8968983649872866</c:v>
                </c:pt>
                <c:pt idx="719">
                  <c:v>1.9023570669104135</c:v>
                </c:pt>
                <c:pt idx="720">
                  <c:v>1.9573010650751133</c:v>
                </c:pt>
                <c:pt idx="721">
                  <c:v>1.9867985167647939</c:v>
                </c:pt>
                <c:pt idx="722">
                  <c:v>1.9327263807312125</c:v>
                </c:pt>
                <c:pt idx="723">
                  <c:v>1.9112800370632308</c:v>
                </c:pt>
                <c:pt idx="724">
                  <c:v>1.9867491366239336</c:v>
                </c:pt>
                <c:pt idx="725">
                  <c:v>1.98118888373894</c:v>
                </c:pt>
                <c:pt idx="726">
                  <c:v>2.0993082186495911</c:v>
                </c:pt>
                <c:pt idx="727">
                  <c:v>2.1082726696737821</c:v>
                </c:pt>
                <c:pt idx="728">
                  <c:v>2.104210485768311</c:v>
                </c:pt>
                <c:pt idx="729">
                  <c:v>2.1424209379437817</c:v>
                </c:pt>
                <c:pt idx="730">
                  <c:v>2.146997308028701</c:v>
                </c:pt>
                <c:pt idx="731">
                  <c:v>2.2678513482694775</c:v>
                </c:pt>
                <c:pt idx="732">
                  <c:v>2.2961000321594005</c:v>
                </c:pt>
                <c:pt idx="733">
                  <c:v>2.2931513177983036</c:v>
                </c:pt>
                <c:pt idx="734">
                  <c:v>2.2870755680278871</c:v>
                </c:pt>
                <c:pt idx="735">
                  <c:v>2.2955853838421936</c:v>
                </c:pt>
                <c:pt idx="736">
                  <c:v>2.3006339850822779</c:v>
                </c:pt>
                <c:pt idx="737">
                  <c:v>2.3175464216518202</c:v>
                </c:pt>
                <c:pt idx="738">
                  <c:v>2.2980838478443517</c:v>
                </c:pt>
                <c:pt idx="739">
                  <c:v>2.2974322558522084</c:v>
                </c:pt>
                <c:pt idx="740">
                  <c:v>2.2737148978257347</c:v>
                </c:pt>
                <c:pt idx="741">
                  <c:v>2.303335010968647</c:v>
                </c:pt>
                <c:pt idx="742">
                  <c:v>2.3510525993459073</c:v>
                </c:pt>
                <c:pt idx="743">
                  <c:v>2.3515983397727167</c:v>
                </c:pt>
                <c:pt idx="744">
                  <c:v>2.36136818759987</c:v>
                </c:pt>
                <c:pt idx="745">
                  <c:v>2.3216759743677544</c:v>
                </c:pt>
                <c:pt idx="746">
                  <c:v>2.2155258685593715</c:v>
                </c:pt>
                <c:pt idx="747">
                  <c:v>2.3015755038784467</c:v>
                </c:pt>
                <c:pt idx="748">
                  <c:v>2.2970737395739915</c:v>
                </c:pt>
                <c:pt idx="749">
                  <c:v>2.3190899645279321</c:v>
                </c:pt>
                <c:pt idx="750">
                  <c:v>2.3198972818219619</c:v>
                </c:pt>
                <c:pt idx="751">
                  <c:v>2.25529187026109</c:v>
                </c:pt>
                <c:pt idx="752">
                  <c:v>2.1993196721600374</c:v>
                </c:pt>
                <c:pt idx="753">
                  <c:v>2.1802462568104359</c:v>
                </c:pt>
                <c:pt idx="754">
                  <c:v>2.1191141139870644</c:v>
                </c:pt>
                <c:pt idx="755">
                  <c:v>2.1184442212203183</c:v>
                </c:pt>
                <c:pt idx="756">
                  <c:v>2.0577739147934015</c:v>
                </c:pt>
                <c:pt idx="757">
                  <c:v>2.0310900854072305</c:v>
                </c:pt>
                <c:pt idx="758">
                  <c:v>1.996817515936</c:v>
                </c:pt>
                <c:pt idx="759">
                  <c:v>2.0423962800224227</c:v>
                </c:pt>
                <c:pt idx="760">
                  <c:v>1.9605215874085011</c:v>
                </c:pt>
                <c:pt idx="761">
                  <c:v>1.895930058429621</c:v>
                </c:pt>
                <c:pt idx="762">
                  <c:v>1.7724613179951809</c:v>
                </c:pt>
                <c:pt idx="763">
                  <c:v>1.7359651628573156</c:v>
                </c:pt>
                <c:pt idx="764">
                  <c:v>1.7512574604024682</c:v>
                </c:pt>
                <c:pt idx="765">
                  <c:v>1.7633787640273295</c:v>
                </c:pt>
                <c:pt idx="766">
                  <c:v>1.8041994123203349</c:v>
                </c:pt>
                <c:pt idx="767">
                  <c:v>1.7672295631301571</c:v>
                </c:pt>
                <c:pt idx="768">
                  <c:v>1.7337340690232403</c:v>
                </c:pt>
                <c:pt idx="769">
                  <c:v>1.7453203353420013</c:v>
                </c:pt>
                <c:pt idx="770">
                  <c:v>1.7845282321347213</c:v>
                </c:pt>
                <c:pt idx="771">
                  <c:v>1.7652238625208228</c:v>
                </c:pt>
                <c:pt idx="772">
                  <c:v>1.6872504801850134</c:v>
                </c:pt>
                <c:pt idx="773">
                  <c:v>1.6875673049892674</c:v>
                </c:pt>
                <c:pt idx="774">
                  <c:v>1.7113215201764378</c:v>
                </c:pt>
                <c:pt idx="775">
                  <c:v>1.7824388968112037</c:v>
                </c:pt>
                <c:pt idx="776">
                  <c:v>1.7813401317735722</c:v>
                </c:pt>
                <c:pt idx="777">
                  <c:v>1.8043587932937448</c:v>
                </c:pt>
                <c:pt idx="778">
                  <c:v>1.7284064808207622</c:v>
                </c:pt>
                <c:pt idx="779">
                  <c:v>1.7499875969143168</c:v>
                </c:pt>
                <c:pt idx="780">
                  <c:v>1.8066710902458758</c:v>
                </c:pt>
                <c:pt idx="781">
                  <c:v>1.8138048978843022</c:v>
                </c:pt>
                <c:pt idx="782">
                  <c:v>1.8645472346647369</c:v>
                </c:pt>
                <c:pt idx="783">
                  <c:v>1.8313905348699466</c:v>
                </c:pt>
                <c:pt idx="784">
                  <c:v>1.8475631886542823</c:v>
                </c:pt>
                <c:pt idx="785">
                  <c:v>1.9059642039627929</c:v>
                </c:pt>
                <c:pt idx="786">
                  <c:v>1.8575032476730609</c:v>
                </c:pt>
                <c:pt idx="787">
                  <c:v>1.8607581904367227</c:v>
                </c:pt>
                <c:pt idx="788">
                  <c:v>1.8984335964073147</c:v>
                </c:pt>
                <c:pt idx="789">
                  <c:v>1.8845001925549933</c:v>
                </c:pt>
                <c:pt idx="790">
                  <c:v>1.9440442170610646</c:v>
                </c:pt>
                <c:pt idx="791">
                  <c:v>1.9770511330756482</c:v>
                </c:pt>
                <c:pt idx="792">
                  <c:v>1.9755982280463604</c:v>
                </c:pt>
                <c:pt idx="793">
                  <c:v>1.9779355188512393</c:v>
                </c:pt>
                <c:pt idx="794">
                  <c:v>1.9629905530822804</c:v>
                </c:pt>
                <c:pt idx="795">
                  <c:v>1.9910242024953519</c:v>
                </c:pt>
                <c:pt idx="796">
                  <c:v>2.0075662442829638</c:v>
                </c:pt>
                <c:pt idx="797">
                  <c:v>1.9934034999347097</c:v>
                </c:pt>
                <c:pt idx="798">
                  <c:v>1.9995492249491547</c:v>
                </c:pt>
                <c:pt idx="799">
                  <c:v>2.0093197942895538</c:v>
                </c:pt>
                <c:pt idx="800">
                  <c:v>2.0286363652790675</c:v>
                </c:pt>
                <c:pt idx="801">
                  <c:v>2.069968152101711</c:v>
                </c:pt>
                <c:pt idx="802">
                  <c:v>2.1244203081742921</c:v>
                </c:pt>
                <c:pt idx="803">
                  <c:v>2.125039975891752</c:v>
                </c:pt>
                <c:pt idx="804">
                  <c:v>2.1052418783155211</c:v>
                </c:pt>
                <c:pt idx="805">
                  <c:v>2.0858552548815745</c:v>
                </c:pt>
                <c:pt idx="806">
                  <c:v>2.0246087551407363</c:v>
                </c:pt>
                <c:pt idx="807">
                  <c:v>2.0551778886302077</c:v>
                </c:pt>
                <c:pt idx="808">
                  <c:v>2.0787518556879259</c:v>
                </c:pt>
                <c:pt idx="809">
                  <c:v>2.0954709044893378</c:v>
                </c:pt>
                <c:pt idx="810">
                  <c:v>2.073801919969755</c:v>
                </c:pt>
                <c:pt idx="811">
                  <c:v>2.0948864377057528</c:v>
                </c:pt>
                <c:pt idx="812">
                  <c:v>2.081541000982658</c:v>
                </c:pt>
                <c:pt idx="813">
                  <c:v>2.0339594451747702</c:v>
                </c:pt>
                <c:pt idx="814">
                  <c:v>2.1240523367691302</c:v>
                </c:pt>
                <c:pt idx="815">
                  <c:v>2.1202829413022841</c:v>
                </c:pt>
                <c:pt idx="816">
                  <c:v>2.0685335977453523</c:v>
                </c:pt>
                <c:pt idx="817">
                  <c:v>2.1179590752119446</c:v>
                </c:pt>
                <c:pt idx="818">
                  <c:v>2.1361377971768345</c:v>
                </c:pt>
                <c:pt idx="819">
                  <c:v>2.076476347361055</c:v>
                </c:pt>
                <c:pt idx="820">
                  <c:v>2.0659010228822332</c:v>
                </c:pt>
                <c:pt idx="821">
                  <c:v>2.0291278021430812</c:v>
                </c:pt>
                <c:pt idx="822">
                  <c:v>2.0152605384336031</c:v>
                </c:pt>
                <c:pt idx="823">
                  <c:v>2.0293558725035683</c:v>
                </c:pt>
                <c:pt idx="824">
                  <c:v>2.0759134161020718</c:v>
                </c:pt>
                <c:pt idx="825">
                  <c:v>2.0735722240658272</c:v>
                </c:pt>
                <c:pt idx="826">
                  <c:v>2.0627829913114337</c:v>
                </c:pt>
                <c:pt idx="827">
                  <c:v>2.0529323505938541</c:v>
                </c:pt>
                <c:pt idx="828">
                  <c:v>2.0233215926995443</c:v>
                </c:pt>
                <c:pt idx="829">
                  <c:v>2.0242700520822843</c:v>
                </c:pt>
                <c:pt idx="830">
                  <c:v>1.9983570964779995</c:v>
                </c:pt>
                <c:pt idx="831">
                  <c:v>1.9587165477754693</c:v>
                </c:pt>
                <c:pt idx="832">
                  <c:v>1.8776310252892499</c:v>
                </c:pt>
                <c:pt idx="833">
                  <c:v>1.8605470902356764</c:v>
                </c:pt>
                <c:pt idx="834">
                  <c:v>1.8856131190204084</c:v>
                </c:pt>
                <c:pt idx="835">
                  <c:v>1.9233965705813652</c:v>
                </c:pt>
                <c:pt idx="836">
                  <c:v>2.0097858875911916</c:v>
                </c:pt>
                <c:pt idx="837">
                  <c:v>2.0574690053315767</c:v>
                </c:pt>
                <c:pt idx="838">
                  <c:v>2.0828746140322845</c:v>
                </c:pt>
                <c:pt idx="839">
                  <c:v>2.0476115486821769</c:v>
                </c:pt>
                <c:pt idx="840">
                  <c:v>2.1158080582716501</c:v>
                </c:pt>
                <c:pt idx="841">
                  <c:v>2.1130106495600471</c:v>
                </c:pt>
                <c:pt idx="842">
                  <c:v>2.0641607543156542</c:v>
                </c:pt>
                <c:pt idx="843">
                  <c:v>2.0580805062298988</c:v>
                </c:pt>
                <c:pt idx="844">
                  <c:v>2.0542104762432114</c:v>
                </c:pt>
                <c:pt idx="845">
                  <c:v>1.945202749987414</c:v>
                </c:pt>
                <c:pt idx="846">
                  <c:v>1.916642885421143</c:v>
                </c:pt>
                <c:pt idx="847">
                  <c:v>1.9525764707830899</c:v>
                </c:pt>
                <c:pt idx="848">
                  <c:v>1.8831601129535631</c:v>
                </c:pt>
                <c:pt idx="849">
                  <c:v>1.8647950526230928</c:v>
                </c:pt>
                <c:pt idx="850">
                  <c:v>1.872276991297638</c:v>
                </c:pt>
                <c:pt idx="851">
                  <c:v>1.8765571217313333</c:v>
                </c:pt>
                <c:pt idx="852">
                  <c:v>1.8985564212034947</c:v>
                </c:pt>
                <c:pt idx="853">
                  <c:v>1.9095127774815086</c:v>
                </c:pt>
                <c:pt idx="854">
                  <c:v>1.9631118737648985</c:v>
                </c:pt>
                <c:pt idx="855">
                  <c:v>1.9710776422789478</c:v>
                </c:pt>
                <c:pt idx="856">
                  <c:v>2.0284741036537759</c:v>
                </c:pt>
                <c:pt idx="857">
                  <c:v>2.0126291035972272</c:v>
                </c:pt>
                <c:pt idx="858">
                  <c:v>1.9986274504701165</c:v>
                </c:pt>
                <c:pt idx="859">
                  <c:v>2.0362959072663527</c:v>
                </c:pt>
                <c:pt idx="860">
                  <c:v>2.1000431203335523</c:v>
                </c:pt>
                <c:pt idx="861">
                  <c:v>2.1315913086597167</c:v>
                </c:pt>
                <c:pt idx="862">
                  <c:v>2.1794278205911333</c:v>
                </c:pt>
                <c:pt idx="863">
                  <c:v>2.1781729079074954</c:v>
                </c:pt>
                <c:pt idx="864">
                  <c:v>2.2244145884397675</c:v>
                </c:pt>
                <c:pt idx="865">
                  <c:v>2.2608047001272911</c:v>
                </c:pt>
                <c:pt idx="866">
                  <c:v>2.2961526671811874</c:v>
                </c:pt>
                <c:pt idx="867">
                  <c:v>2.1834488855507161</c:v>
                </c:pt>
                <c:pt idx="868">
                  <c:v>2.195119603924899</c:v>
                </c:pt>
                <c:pt idx="869">
                  <c:v>2.0949519332421112</c:v>
                </c:pt>
                <c:pt idx="870">
                  <c:v>2.0737465552992216</c:v>
                </c:pt>
                <c:pt idx="871">
                  <c:v>2.0368354082755977</c:v>
                </c:pt>
                <c:pt idx="872">
                  <c:v>2.0868033981769449</c:v>
                </c:pt>
                <c:pt idx="873">
                  <c:v>2.0862725591707867</c:v>
                </c:pt>
                <c:pt idx="874">
                  <c:v>2.0631215742302254</c:v>
                </c:pt>
                <c:pt idx="875">
                  <c:v>2.0951964205110993</c:v>
                </c:pt>
                <c:pt idx="876">
                  <c:v>2.0986253980338043</c:v>
                </c:pt>
                <c:pt idx="877">
                  <c:v>2.0481621267361247</c:v>
                </c:pt>
                <c:pt idx="878">
                  <c:v>2.0526455977732141</c:v>
                </c:pt>
                <c:pt idx="879">
                  <c:v>2.0589998339873845</c:v>
                </c:pt>
                <c:pt idx="880">
                  <c:v>2.1040893606686089</c:v>
                </c:pt>
                <c:pt idx="881">
                  <c:v>2.1351148364412644</c:v>
                </c:pt>
                <c:pt idx="882">
                  <c:v>2.1534656668700296</c:v>
                </c:pt>
                <c:pt idx="883">
                  <c:v>2.1038095806469235</c:v>
                </c:pt>
                <c:pt idx="884">
                  <c:v>2.0999266637781049</c:v>
                </c:pt>
                <c:pt idx="885">
                  <c:v>2.107054836806717</c:v>
                </c:pt>
                <c:pt idx="886">
                  <c:v>2.0289846757771097</c:v>
                </c:pt>
                <c:pt idx="887">
                  <c:v>1.9609064692399931</c:v>
                </c:pt>
                <c:pt idx="888">
                  <c:v>1.9400762485004432</c:v>
                </c:pt>
                <c:pt idx="889">
                  <c:v>1.9571550471110908</c:v>
                </c:pt>
                <c:pt idx="890">
                  <c:v>1.934577352209117</c:v>
                </c:pt>
                <c:pt idx="891">
                  <c:v>1.9507425779301795</c:v>
                </c:pt>
                <c:pt idx="892">
                  <c:v>1.8991440353964941</c:v>
                </c:pt>
                <c:pt idx="893">
                  <c:v>1.9068770853435648</c:v>
                </c:pt>
                <c:pt idx="894">
                  <c:v>1.9665266010999973</c:v>
                </c:pt>
                <c:pt idx="895">
                  <c:v>1.8739824396058102</c:v>
                </c:pt>
                <c:pt idx="896">
                  <c:v>1.7744628444146477</c:v>
                </c:pt>
                <c:pt idx="897">
                  <c:v>1.7334045607387514</c:v>
                </c:pt>
                <c:pt idx="898">
                  <c:v>1.7603651980479884</c:v>
                </c:pt>
                <c:pt idx="899">
                  <c:v>1.81622749316829</c:v>
                </c:pt>
                <c:pt idx="900">
                  <c:v>1.8371501272527706</c:v>
                </c:pt>
                <c:pt idx="901">
                  <c:v>1.813228639274403</c:v>
                </c:pt>
                <c:pt idx="902">
                  <c:v>1.8072565204778104</c:v>
                </c:pt>
                <c:pt idx="903">
                  <c:v>1.8490373034672491</c:v>
                </c:pt>
                <c:pt idx="904">
                  <c:v>1.8295375584973776</c:v>
                </c:pt>
                <c:pt idx="905">
                  <c:v>1.9188802682941684</c:v>
                </c:pt>
                <c:pt idx="906">
                  <c:v>1.9168125738937825</c:v>
                </c:pt>
                <c:pt idx="907">
                  <c:v>1.9562739861793501</c:v>
                </c:pt>
                <c:pt idx="908">
                  <c:v>1.9538620278714809</c:v>
                </c:pt>
                <c:pt idx="909">
                  <c:v>2.0213012975296407</c:v>
                </c:pt>
                <c:pt idx="910">
                  <c:v>2.025898959863131</c:v>
                </c:pt>
                <c:pt idx="911">
                  <c:v>1.9970492762532237</c:v>
                </c:pt>
                <c:pt idx="912">
                  <c:v>1.9792148415376598</c:v>
                </c:pt>
                <c:pt idx="913">
                  <c:v>1.9894775179566146</c:v>
                </c:pt>
                <c:pt idx="914">
                  <c:v>1.9705195966221252</c:v>
                </c:pt>
                <c:pt idx="915">
                  <c:v>1.9980815467820292</c:v>
                </c:pt>
                <c:pt idx="916">
                  <c:v>1.9627257944528151</c:v>
                </c:pt>
                <c:pt idx="917">
                  <c:v>1.99746609233087</c:v>
                </c:pt>
                <c:pt idx="918">
                  <c:v>1.9980473894922302</c:v>
                </c:pt>
                <c:pt idx="919">
                  <c:v>2.0471486847545362</c:v>
                </c:pt>
                <c:pt idx="920">
                  <c:v>2.0028414898815745</c:v>
                </c:pt>
                <c:pt idx="921">
                  <c:v>2.0161137061534253</c:v>
                </c:pt>
                <c:pt idx="922">
                  <c:v>2.0429997651792648</c:v>
                </c:pt>
                <c:pt idx="923">
                  <c:v>2.0425978096001982</c:v>
                </c:pt>
                <c:pt idx="924">
                  <c:v>1.9629481796144737</c:v>
                </c:pt>
                <c:pt idx="925">
                  <c:v>1.9323415885731372</c:v>
                </c:pt>
                <c:pt idx="926">
                  <c:v>1.9892480919200803</c:v>
                </c:pt>
                <c:pt idx="927">
                  <c:v>1.9908824433466206</c:v>
                </c:pt>
                <c:pt idx="928">
                  <c:v>2.0304632784252292</c:v>
                </c:pt>
                <c:pt idx="929">
                  <c:v>2.0398153611404788</c:v>
                </c:pt>
                <c:pt idx="930">
                  <c:v>1.9730846872729932</c:v>
                </c:pt>
                <c:pt idx="931">
                  <c:v>1.9577287042775173</c:v>
                </c:pt>
                <c:pt idx="932">
                  <c:v>1.9860682454151861</c:v>
                </c:pt>
                <c:pt idx="933">
                  <c:v>2.0317798571003793</c:v>
                </c:pt>
                <c:pt idx="934">
                  <c:v>1.9473113073276112</c:v>
                </c:pt>
                <c:pt idx="935">
                  <c:v>1.960597191922302</c:v>
                </c:pt>
                <c:pt idx="936">
                  <c:v>1.9175252868753665</c:v>
                </c:pt>
                <c:pt idx="937">
                  <c:v>1.9095204097228093</c:v>
                </c:pt>
                <c:pt idx="938">
                  <c:v>1.9734629761838551</c:v>
                </c:pt>
                <c:pt idx="939">
                  <c:v>1.9315185898449332</c:v>
                </c:pt>
                <c:pt idx="940">
                  <c:v>1.8985328304719913</c:v>
                </c:pt>
                <c:pt idx="941">
                  <c:v>1.9167452566580614</c:v>
                </c:pt>
                <c:pt idx="942">
                  <c:v>1.8716271954264598</c:v>
                </c:pt>
                <c:pt idx="943">
                  <c:v>1.8933229573550772</c:v>
                </c:pt>
                <c:pt idx="944">
                  <c:v>1.855241661051491</c:v>
                </c:pt>
                <c:pt idx="945">
                  <c:v>1.8637913770974828</c:v>
                </c:pt>
                <c:pt idx="946">
                  <c:v>1.8798201055564916</c:v>
                </c:pt>
                <c:pt idx="947">
                  <c:v>1.8937445843113911</c:v>
                </c:pt>
                <c:pt idx="948">
                  <c:v>1.8391423282845465</c:v>
                </c:pt>
                <c:pt idx="949">
                  <c:v>1.8823988884936456</c:v>
                </c:pt>
                <c:pt idx="950">
                  <c:v>1.8939878312476679</c:v>
                </c:pt>
                <c:pt idx="951">
                  <c:v>1.8823252418231606</c:v>
                </c:pt>
                <c:pt idx="952">
                  <c:v>1.8583605555706946</c:v>
                </c:pt>
                <c:pt idx="953">
                  <c:v>1.8252338313367558</c:v>
                </c:pt>
                <c:pt idx="954">
                  <c:v>1.9108883220455226</c:v>
                </c:pt>
                <c:pt idx="955">
                  <c:v>2.0139121568280691</c:v>
                </c:pt>
                <c:pt idx="956">
                  <c:v>2.0346852809856695</c:v>
                </c:pt>
                <c:pt idx="957">
                  <c:v>2.042559175936749</c:v>
                </c:pt>
                <c:pt idx="958">
                  <c:v>2.084442377869812</c:v>
                </c:pt>
                <c:pt idx="959">
                  <c:v>2.1084301388484117</c:v>
                </c:pt>
                <c:pt idx="960">
                  <c:v>2.1107306465016369</c:v>
                </c:pt>
                <c:pt idx="961">
                  <c:v>2.1594376734450202</c:v>
                </c:pt>
                <c:pt idx="962">
                  <c:v>2.2200506525813002</c:v>
                </c:pt>
                <c:pt idx="963">
                  <c:v>2.2273820070145018</c:v>
                </c:pt>
                <c:pt idx="964">
                  <c:v>2.171211592547885</c:v>
                </c:pt>
                <c:pt idx="965">
                  <c:v>2.168966548634681</c:v>
                </c:pt>
                <c:pt idx="966">
                  <c:v>2.2120500798697504</c:v>
                </c:pt>
                <c:pt idx="967">
                  <c:v>2.2224369871635004</c:v>
                </c:pt>
                <c:pt idx="968">
                  <c:v>2.2884428687105109</c:v>
                </c:pt>
                <c:pt idx="969">
                  <c:v>2.2374818588919383</c:v>
                </c:pt>
                <c:pt idx="970">
                  <c:v>2.2383379851863743</c:v>
                </c:pt>
                <c:pt idx="971">
                  <c:v>2.2374867837459984</c:v>
                </c:pt>
                <c:pt idx="972">
                  <c:v>2.2253891530716783</c:v>
                </c:pt>
                <c:pt idx="973">
                  <c:v>2.2402709272371046</c:v>
                </c:pt>
                <c:pt idx="974">
                  <c:v>2.2918164505149172</c:v>
                </c:pt>
                <c:pt idx="975">
                  <c:v>2.3107019418274533</c:v>
                </c:pt>
                <c:pt idx="976">
                  <c:v>2.3128233932452913</c:v>
                </c:pt>
                <c:pt idx="977">
                  <c:v>2.2527254344578722</c:v>
                </c:pt>
                <c:pt idx="978">
                  <c:v>2.2403553373692402</c:v>
                </c:pt>
                <c:pt idx="979">
                  <c:v>2.2652876867107836</c:v>
                </c:pt>
                <c:pt idx="980">
                  <c:v>2.2652876867107841</c:v>
                </c:pt>
                <c:pt idx="981">
                  <c:v>2.2258342752592486</c:v>
                </c:pt>
                <c:pt idx="982">
                  <c:v>2.2599199648612389</c:v>
                </c:pt>
                <c:pt idx="983">
                  <c:v>2.3076324856043193</c:v>
                </c:pt>
                <c:pt idx="984">
                  <c:v>2.2826135707582567</c:v>
                </c:pt>
                <c:pt idx="985">
                  <c:v>2.2193069594880037</c:v>
                </c:pt>
                <c:pt idx="986">
                  <c:v>2.1398300946362454</c:v>
                </c:pt>
                <c:pt idx="987">
                  <c:v>2.119285537605756</c:v>
                </c:pt>
                <c:pt idx="988">
                  <c:v>2.0700452542114269</c:v>
                </c:pt>
                <c:pt idx="989">
                  <c:v>2.0411346149401233</c:v>
                </c:pt>
                <c:pt idx="990">
                  <c:v>1.9954830357554381</c:v>
                </c:pt>
                <c:pt idx="991">
                  <c:v>2.0309546232680225</c:v>
                </c:pt>
                <c:pt idx="992">
                  <c:v>1.990439246996325</c:v>
                </c:pt>
                <c:pt idx="993">
                  <c:v>1.9237096113497578</c:v>
                </c:pt>
                <c:pt idx="994">
                  <c:v>1.9038104134773424</c:v>
                </c:pt>
                <c:pt idx="995">
                  <c:v>1.9383796223379559</c:v>
                </c:pt>
                <c:pt idx="996">
                  <c:v>1.9949891908230819</c:v>
                </c:pt>
                <c:pt idx="997">
                  <c:v>1.9541458137887342</c:v>
                </c:pt>
                <c:pt idx="998">
                  <c:v>1.8523192127253167</c:v>
                </c:pt>
                <c:pt idx="999">
                  <c:v>1.7560496289899379</c:v>
                </c:pt>
                <c:pt idx="1000">
                  <c:v>1.7577066725773878</c:v>
                </c:pt>
                <c:pt idx="1001">
                  <c:v>1.7892922821765622</c:v>
                </c:pt>
                <c:pt idx="1002">
                  <c:v>1.8112469897964623</c:v>
                </c:pt>
                <c:pt idx="1003">
                  <c:v>1.7991089552800821</c:v>
                </c:pt>
                <c:pt idx="1004">
                  <c:v>1.8772394842961606</c:v>
                </c:pt>
                <c:pt idx="1005">
                  <c:v>1.8012813749285383</c:v>
                </c:pt>
                <c:pt idx="1006">
                  <c:v>1.7975557325352249</c:v>
                </c:pt>
                <c:pt idx="1007">
                  <c:v>1.8029039442485484</c:v>
                </c:pt>
                <c:pt idx="1008">
                  <c:v>1.9158276149231683</c:v>
                </c:pt>
                <c:pt idx="1009">
                  <c:v>1.910028536679601</c:v>
                </c:pt>
                <c:pt idx="1010">
                  <c:v>1.8659858351395013</c:v>
                </c:pt>
                <c:pt idx="1011">
                  <c:v>1.8927001067591269</c:v>
                </c:pt>
                <c:pt idx="1012">
                  <c:v>1.8923056726936947</c:v>
                </c:pt>
                <c:pt idx="1013">
                  <c:v>1.9543184300624947</c:v>
                </c:pt>
                <c:pt idx="1014">
                  <c:v>1.9433264138778432</c:v>
                </c:pt>
                <c:pt idx="1015">
                  <c:v>1.9463059866553796</c:v>
                </c:pt>
                <c:pt idx="1016">
                  <c:v>1.9283722126147698</c:v>
                </c:pt>
                <c:pt idx="1017">
                  <c:v>1.8968668831191229</c:v>
                </c:pt>
                <c:pt idx="1018">
                  <c:v>1.9676493153792538</c:v>
                </c:pt>
                <c:pt idx="1019">
                  <c:v>2.034362408635328</c:v>
                </c:pt>
                <c:pt idx="1020">
                  <c:v>2.0687734751441624</c:v>
                </c:pt>
                <c:pt idx="1021">
                  <c:v>2.0859460840332487</c:v>
                </c:pt>
                <c:pt idx="1022">
                  <c:v>2.0277632237172196</c:v>
                </c:pt>
                <c:pt idx="1023">
                  <c:v>2.0129921915686717</c:v>
                </c:pt>
                <c:pt idx="1024">
                  <c:v>2.0094291192352616</c:v>
                </c:pt>
                <c:pt idx="1025">
                  <c:v>2.0120627957931307</c:v>
                </c:pt>
                <c:pt idx="1026">
                  <c:v>2.0610395725920143</c:v>
                </c:pt>
                <c:pt idx="1027">
                  <c:v>1.9968766155918209</c:v>
                </c:pt>
                <c:pt idx="1028">
                  <c:v>2.0213537023518544</c:v>
                </c:pt>
                <c:pt idx="1029">
                  <c:v>2.0222964053932166</c:v>
                </c:pt>
                <c:pt idx="1030">
                  <c:v>2.0695059944036527</c:v>
                </c:pt>
                <c:pt idx="1031">
                  <c:v>2.0751540388798921</c:v>
                </c:pt>
                <c:pt idx="1032">
                  <c:v>2.1204993635639977</c:v>
                </c:pt>
                <c:pt idx="1033">
                  <c:v>2.1390091562733353</c:v>
                </c:pt>
                <c:pt idx="1034">
                  <c:v>2.1955676248784859</c:v>
                </c:pt>
                <c:pt idx="1035">
                  <c:v>2.1083458420378571</c:v>
                </c:pt>
                <c:pt idx="1036">
                  <c:v>2.0937053001657278</c:v>
                </c:pt>
                <c:pt idx="1037">
                  <c:v>2.1084220465008423</c:v>
                </c:pt>
                <c:pt idx="1038">
                  <c:v>2.1055999693158491</c:v>
                </c:pt>
                <c:pt idx="1039">
                  <c:v>2.0053234049870419</c:v>
                </c:pt>
                <c:pt idx="1040">
                  <c:v>2.0028329709083352</c:v>
                </c:pt>
                <c:pt idx="1041">
                  <c:v>2.0337035761124969</c:v>
                </c:pt>
                <c:pt idx="1042">
                  <c:v>2.0447618681609647</c:v>
                </c:pt>
                <c:pt idx="1043">
                  <c:v>2.1297353133921946</c:v>
                </c:pt>
                <c:pt idx="1044">
                  <c:v>2.0380263076768426</c:v>
                </c:pt>
                <c:pt idx="1045">
                  <c:v>2.0082348905969387</c:v>
                </c:pt>
                <c:pt idx="1046">
                  <c:v>2.131325312407764</c:v>
                </c:pt>
                <c:pt idx="1047">
                  <c:v>2.1451498367046899</c:v>
                </c:pt>
                <c:pt idx="1048">
                  <c:v>2.2307561484546676</c:v>
                </c:pt>
                <c:pt idx="1049">
                  <c:v>2.1730818902664399</c:v>
                </c:pt>
                <c:pt idx="1050">
                  <c:v>2.0947678278827473</c:v>
                </c:pt>
                <c:pt idx="1051">
                  <c:v>2.0953280687356304</c:v>
                </c:pt>
                <c:pt idx="1052">
                  <c:v>2.114771397696718</c:v>
                </c:pt>
                <c:pt idx="1053">
                  <c:v>2.0946237562750758</c:v>
                </c:pt>
                <c:pt idx="1054">
                  <c:v>2.1726027277522757</c:v>
                </c:pt>
                <c:pt idx="1055">
                  <c:v>2.2418778230458618</c:v>
                </c:pt>
                <c:pt idx="1056">
                  <c:v>2.2665727812611558</c:v>
                </c:pt>
                <c:pt idx="1057">
                  <c:v>2.1492221338616222</c:v>
                </c:pt>
                <c:pt idx="1058">
                  <c:v>2.1237628010406375</c:v>
                </c:pt>
                <c:pt idx="1059">
                  <c:v>2.1105485912210336</c:v>
                </c:pt>
                <c:pt idx="1060">
                  <c:v>2.2271823549802501</c:v>
                </c:pt>
                <c:pt idx="1061">
                  <c:v>2.2026551438550852</c:v>
                </c:pt>
                <c:pt idx="1062">
                  <c:v>2.1585299986536053</c:v>
                </c:pt>
                <c:pt idx="1063">
                  <c:v>1.9806198678375049</c:v>
                </c:pt>
                <c:pt idx="1064">
                  <c:v>1.9693171150381881</c:v>
                </c:pt>
                <c:pt idx="1065">
                  <c:v>1.7995315207369964</c:v>
                </c:pt>
                <c:pt idx="1066">
                  <c:v>1.7587698778294003</c:v>
                </c:pt>
                <c:pt idx="1067">
                  <c:v>1.7099384350618494</c:v>
                </c:pt>
                <c:pt idx="1068">
                  <c:v>1.5807038692608675</c:v>
                </c:pt>
                <c:pt idx="1069">
                  <c:v>1.5560700337895343</c:v>
                </c:pt>
                <c:pt idx="1070">
                  <c:v>1.5251188088613969</c:v>
                </c:pt>
                <c:pt idx="1071">
                  <c:v>1.4776825508684293</c:v>
                </c:pt>
                <c:pt idx="1072">
                  <c:v>1.4823659099614126</c:v>
                </c:pt>
                <c:pt idx="1073">
                  <c:v>1.559748286126871</c:v>
                </c:pt>
                <c:pt idx="1074">
                  <c:v>1.6069404255680972</c:v>
                </c:pt>
                <c:pt idx="1075">
                  <c:v>1.576968329497056</c:v>
                </c:pt>
                <c:pt idx="1076">
                  <c:v>1.5836447471420554</c:v>
                </c:pt>
                <c:pt idx="1077">
                  <c:v>1.5637486604063886</c:v>
                </c:pt>
                <c:pt idx="1078">
                  <c:v>1.6246094623299394</c:v>
                </c:pt>
                <c:pt idx="1079">
                  <c:v>1.6224511211833668</c:v>
                </c:pt>
                <c:pt idx="1080">
                  <c:v>1.6203456267832153</c:v>
                </c:pt>
                <c:pt idx="1081">
                  <c:v>1.5933537424509974</c:v>
                </c:pt>
                <c:pt idx="1082">
                  <c:v>1.5940175190574093</c:v>
                </c:pt>
                <c:pt idx="1083">
                  <c:v>1.6311161653614921</c:v>
                </c:pt>
                <c:pt idx="1084">
                  <c:v>1.5888651022541003</c:v>
                </c:pt>
                <c:pt idx="1085">
                  <c:v>1.6461838492222929</c:v>
                </c:pt>
                <c:pt idx="1086">
                  <c:v>1.6538806093357841</c:v>
                </c:pt>
                <c:pt idx="1087">
                  <c:v>1.6974263454851604</c:v>
                </c:pt>
                <c:pt idx="1088">
                  <c:v>1.903979005296065</c:v>
                </c:pt>
                <c:pt idx="1089">
                  <c:v>2.0995708219028724</c:v>
                </c:pt>
                <c:pt idx="1090">
                  <c:v>2.1840739397959239</c:v>
                </c:pt>
                <c:pt idx="1091">
                  <c:v>2.2086117932984166</c:v>
                </c:pt>
                <c:pt idx="1092">
                  <c:v>2.2607337893937687</c:v>
                </c:pt>
                <c:pt idx="1093">
                  <c:v>2.261128408461607</c:v>
                </c:pt>
                <c:pt idx="1094">
                  <c:v>2.3605746016623432</c:v>
                </c:pt>
                <c:pt idx="1095">
                  <c:v>2.4683132934312573</c:v>
                </c:pt>
                <c:pt idx="1096">
                  <c:v>2.569636150813873</c:v>
                </c:pt>
                <c:pt idx="1097">
                  <c:v>2.6876187910193332</c:v>
                </c:pt>
                <c:pt idx="1098">
                  <c:v>2.6538104741823827</c:v>
                </c:pt>
                <c:pt idx="1099">
                  <c:v>2.5958195650760683</c:v>
                </c:pt>
                <c:pt idx="1100">
                  <c:v>2.5278868709550539</c:v>
                </c:pt>
                <c:pt idx="1101">
                  <c:v>2.5277290951342053</c:v>
                </c:pt>
                <c:pt idx="1102">
                  <c:v>2.547129737834263</c:v>
                </c:pt>
                <c:pt idx="1103">
                  <c:v>2.5088358916686806</c:v>
                </c:pt>
                <c:pt idx="1104">
                  <c:v>2.3792483879732567</c:v>
                </c:pt>
                <c:pt idx="1105">
                  <c:v>2.3850261578007421</c:v>
                </c:pt>
                <c:pt idx="1106">
                  <c:v>2.3160257928630998</c:v>
                </c:pt>
                <c:pt idx="1107">
                  <c:v>2.3590297240138316</c:v>
                </c:pt>
                <c:pt idx="1108">
                  <c:v>2.2922179692815527</c:v>
                </c:pt>
                <c:pt idx="1109">
                  <c:v>2.05702011019822</c:v>
                </c:pt>
                <c:pt idx="1110">
                  <c:v>2.0338975781472688</c:v>
                </c:pt>
                <c:pt idx="1111">
                  <c:v>1.9516620164162326</c:v>
                </c:pt>
                <c:pt idx="1112">
                  <c:v>1.8238309113248583</c:v>
                </c:pt>
                <c:pt idx="1113">
                  <c:v>1.6898692395398791</c:v>
                </c:pt>
                <c:pt idx="1114">
                  <c:v>1.7655977645256373</c:v>
                </c:pt>
                <c:pt idx="1115">
                  <c:v>1.891093682245039</c:v>
                </c:pt>
                <c:pt idx="1116">
                  <c:v>1.886613475546574</c:v>
                </c:pt>
                <c:pt idx="1117">
                  <c:v>1.9709151507844198</c:v>
                </c:pt>
                <c:pt idx="1118">
                  <c:v>1.9662782271715491</c:v>
                </c:pt>
                <c:pt idx="1119">
                  <c:v>1.9492789991094055</c:v>
                </c:pt>
                <c:pt idx="1120">
                  <c:v>1.9517742067118327</c:v>
                </c:pt>
                <c:pt idx="1121">
                  <c:v>2.1133600235587453</c:v>
                </c:pt>
                <c:pt idx="1122">
                  <c:v>2.2207148654122792</c:v>
                </c:pt>
                <c:pt idx="1123">
                  <c:v>2.2721664997323594</c:v>
                </c:pt>
                <c:pt idx="1124">
                  <c:v>2.2634087752208081</c:v>
                </c:pt>
                <c:pt idx="1125">
                  <c:v>2.233785160495676</c:v>
                </c:pt>
                <c:pt idx="1126">
                  <c:v>2.181651345853318</c:v>
                </c:pt>
                <c:pt idx="1127">
                  <c:v>2.1455725069879099</c:v>
                </c:pt>
                <c:pt idx="1128">
                  <c:v>2.1053777946123469</c:v>
                </c:pt>
                <c:pt idx="1129">
                  <c:v>2.1026703092911028</c:v>
                </c:pt>
                <c:pt idx="1130">
                  <c:v>2.1172441591530493</c:v>
                </c:pt>
                <c:pt idx="1131">
                  <c:v>2.120921750828177</c:v>
                </c:pt>
                <c:pt idx="1132">
                  <c:v>2.1632681615778253</c:v>
                </c:pt>
                <c:pt idx="1133">
                  <c:v>2.19083425481515</c:v>
                </c:pt>
                <c:pt idx="1134">
                  <c:v>2.2271343145293776</c:v>
                </c:pt>
                <c:pt idx="1135">
                  <c:v>2.196227265256856</c:v>
                </c:pt>
                <c:pt idx="1136">
                  <c:v>2.201439468323739</c:v>
                </c:pt>
                <c:pt idx="1137">
                  <c:v>2.1980699708852529</c:v>
                </c:pt>
                <c:pt idx="1138">
                  <c:v>2.1638013030931824</c:v>
                </c:pt>
                <c:pt idx="1139">
                  <c:v>2.1800452229453668</c:v>
                </c:pt>
                <c:pt idx="1140">
                  <c:v>2.1940434619388403</c:v>
                </c:pt>
                <c:pt idx="1141">
                  <c:v>2.1604935403845098</c:v>
                </c:pt>
                <c:pt idx="1142">
                  <c:v>2.0699095937921892</c:v>
                </c:pt>
                <c:pt idx="1143">
                  <c:v>2.0771902355971257</c:v>
                </c:pt>
                <c:pt idx="1144">
                  <c:v>2.0864478736372729</c:v>
                </c:pt>
                <c:pt idx="1145">
                  <c:v>2.0640699997843104</c:v>
                </c:pt>
                <c:pt idx="1146">
                  <c:v>1.9660016166587666</c:v>
                </c:pt>
                <c:pt idx="1147">
                  <c:v>2.0597677554171279</c:v>
                </c:pt>
                <c:pt idx="1148">
                  <c:v>2.0738259165814115</c:v>
                </c:pt>
                <c:pt idx="1149">
                  <c:v>2.1098911415439328</c:v>
                </c:pt>
                <c:pt idx="1150">
                  <c:v>2.1795021921037914</c:v>
                </c:pt>
                <c:pt idx="1151">
                  <c:v>2.1803861380522473</c:v>
                </c:pt>
                <c:pt idx="1152">
                  <c:v>2.0823704270793204</c:v>
                </c:pt>
                <c:pt idx="1153">
                  <c:v>2.0662950047498589</c:v>
                </c:pt>
                <c:pt idx="1154">
                  <c:v>2.0254197265926175</c:v>
                </c:pt>
                <c:pt idx="1155">
                  <c:v>2.0615781158459208</c:v>
                </c:pt>
                <c:pt idx="1156">
                  <c:v>2.0930707513547722</c:v>
                </c:pt>
                <c:pt idx="1157">
                  <c:v>2.1375148413448932</c:v>
                </c:pt>
                <c:pt idx="1158">
                  <c:v>2.152811581926771</c:v>
                </c:pt>
                <c:pt idx="1159">
                  <c:v>2.1324277714567166</c:v>
                </c:pt>
                <c:pt idx="1160">
                  <c:v>2.1531244514846919</c:v>
                </c:pt>
                <c:pt idx="1161">
                  <c:v>2.2417376561119999</c:v>
                </c:pt>
                <c:pt idx="1162">
                  <c:v>2.2560374087842181</c:v>
                </c:pt>
                <c:pt idx="1163">
                  <c:v>2.2781843380369682</c:v>
                </c:pt>
                <c:pt idx="1164">
                  <c:v>2.186296154125698</c:v>
                </c:pt>
                <c:pt idx="1165">
                  <c:v>2.1799129837505937</c:v>
                </c:pt>
                <c:pt idx="1166">
                  <c:v>2.2184803414334251</c:v>
                </c:pt>
                <c:pt idx="1167">
                  <c:v>2.2191003338415198</c:v>
                </c:pt>
                <c:pt idx="1168">
                  <c:v>2.3078110075723237</c:v>
                </c:pt>
                <c:pt idx="1169">
                  <c:v>2.3071524564108308</c:v>
                </c:pt>
                <c:pt idx="1170">
                  <c:v>2.3933495938753904</c:v>
                </c:pt>
                <c:pt idx="1171">
                  <c:v>2.4187666407822559</c:v>
                </c:pt>
                <c:pt idx="1172">
                  <c:v>2.4181857870450059</c:v>
                </c:pt>
                <c:pt idx="1173">
                  <c:v>2.4708669904207365</c:v>
                </c:pt>
                <c:pt idx="1174">
                  <c:v>2.4362725942634249</c:v>
                </c:pt>
                <c:pt idx="1175">
                  <c:v>2.4321932179907257</c:v>
                </c:pt>
                <c:pt idx="1176">
                  <c:v>2.4324014703217136</c:v>
                </c:pt>
                <c:pt idx="1177">
                  <c:v>2.4673465117827331</c:v>
                </c:pt>
                <c:pt idx="1178">
                  <c:v>2.4143760613772125</c:v>
                </c:pt>
                <c:pt idx="1179">
                  <c:v>2.4275411086117185</c:v>
                </c:pt>
                <c:pt idx="1180">
                  <c:v>2.4288703138518319</c:v>
                </c:pt>
                <c:pt idx="1181">
                  <c:v>2.3660742371768921</c:v>
                </c:pt>
                <c:pt idx="1182">
                  <c:v>2.2953862440599622</c:v>
                </c:pt>
                <c:pt idx="1183">
                  <c:v>2.3338748911337697</c:v>
                </c:pt>
                <c:pt idx="1184">
                  <c:v>2.2887407696920223</c:v>
                </c:pt>
                <c:pt idx="1185">
                  <c:v>2.2659795823263207</c:v>
                </c:pt>
                <c:pt idx="1186">
                  <c:v>2.3006976404966286</c:v>
                </c:pt>
                <c:pt idx="1187">
                  <c:v>2.3118853788962319</c:v>
                </c:pt>
                <c:pt idx="1188">
                  <c:v>2.3068191810041698</c:v>
                </c:pt>
                <c:pt idx="1189">
                  <c:v>2.2862953743339434</c:v>
                </c:pt>
                <c:pt idx="1190">
                  <c:v>2.2694701978912781</c:v>
                </c:pt>
                <c:pt idx="1191">
                  <c:v>2.2477678531583254</c:v>
                </c:pt>
                <c:pt idx="1192">
                  <c:v>2.2533855370849087</c:v>
                </c:pt>
                <c:pt idx="1193">
                  <c:v>2.2510724361445864</c:v>
                </c:pt>
                <c:pt idx="1194">
                  <c:v>2.1964564337921577</c:v>
                </c:pt>
                <c:pt idx="1195">
                  <c:v>2.1869881724661213</c:v>
                </c:pt>
                <c:pt idx="1196">
                  <c:v>2.2440855646181679</c:v>
                </c:pt>
                <c:pt idx="1197">
                  <c:v>2.2858382334269858</c:v>
                </c:pt>
                <c:pt idx="1198">
                  <c:v>2.2839410546932739</c:v>
                </c:pt>
                <c:pt idx="1199">
                  <c:v>2.1945882397362846</c:v>
                </c:pt>
                <c:pt idx="1200">
                  <c:v>2.152610297738657</c:v>
                </c:pt>
                <c:pt idx="1201">
                  <c:v>2.0834807057090643</c:v>
                </c:pt>
                <c:pt idx="1202">
                  <c:v>2.0830179624446497</c:v>
                </c:pt>
                <c:pt idx="1203">
                  <c:v>2.0831053318762982</c:v>
                </c:pt>
                <c:pt idx="1204">
                  <c:v>2.1247514112232615</c:v>
                </c:pt>
                <c:pt idx="1205">
                  <c:v>2.1528345327430549</c:v>
                </c:pt>
                <c:pt idx="1206">
                  <c:v>2.1453836328721847</c:v>
                </c:pt>
                <c:pt idx="1207">
                  <c:v>2.1953118091501111</c:v>
                </c:pt>
                <c:pt idx="1208">
                  <c:v>2.1509715833391909</c:v>
                </c:pt>
                <c:pt idx="1209">
                  <c:v>2.2006148612037779</c:v>
                </c:pt>
                <c:pt idx="1210">
                  <c:v>2.1313499955888959</c:v>
                </c:pt>
                <c:pt idx="1211">
                  <c:v>2.0893880310425219</c:v>
                </c:pt>
                <c:pt idx="1212">
                  <c:v>2.1069502400295828</c:v>
                </c:pt>
                <c:pt idx="1213">
                  <c:v>2.116653109433599</c:v>
                </c:pt>
                <c:pt idx="1214">
                  <c:v>2.0771981073673511</c:v>
                </c:pt>
                <c:pt idx="1215">
                  <c:v>2.0434613075238328</c:v>
                </c:pt>
                <c:pt idx="1216">
                  <c:v>2.0640154073756181</c:v>
                </c:pt>
                <c:pt idx="1217">
                  <c:v>2.0072618541363312</c:v>
                </c:pt>
                <c:pt idx="1218">
                  <c:v>2.0882189332870866</c:v>
                </c:pt>
                <c:pt idx="1219">
                  <c:v>2.0518356856663629</c:v>
                </c:pt>
                <c:pt idx="1220">
                  <c:v>2.0576559296922721</c:v>
                </c:pt>
                <c:pt idx="1221">
                  <c:v>2.108286157858076</c:v>
                </c:pt>
                <c:pt idx="1222">
                  <c:v>2.129775203009908</c:v>
                </c:pt>
                <c:pt idx="1223">
                  <c:v>2.0285448975787856</c:v>
                </c:pt>
                <c:pt idx="1224">
                  <c:v>2.0089818753780753</c:v>
                </c:pt>
                <c:pt idx="1225">
                  <c:v>2.0422586089223813</c:v>
                </c:pt>
                <c:pt idx="1226">
                  <c:v>2.0682945518349807</c:v>
                </c:pt>
                <c:pt idx="1227">
                  <c:v>2.0546836863852</c:v>
                </c:pt>
                <c:pt idx="1228">
                  <c:v>2.0118649214345838</c:v>
                </c:pt>
                <c:pt idx="1229">
                  <c:v>2.0102730915926492</c:v>
                </c:pt>
                <c:pt idx="1230">
                  <c:v>2.0361438577112585</c:v>
                </c:pt>
                <c:pt idx="1231">
                  <c:v>2.0745945182989112</c:v>
                </c:pt>
                <c:pt idx="1232">
                  <c:v>2.0434969670300647</c:v>
                </c:pt>
                <c:pt idx="1233">
                  <c:v>2.1378710183009875</c:v>
                </c:pt>
                <c:pt idx="1234">
                  <c:v>2.2413630946751684</c:v>
                </c:pt>
                <c:pt idx="1235">
                  <c:v>2.29756113473969</c:v>
                </c:pt>
                <c:pt idx="1236">
                  <c:v>2.2922651109422221</c:v>
                </c:pt>
                <c:pt idx="1237">
                  <c:v>2.4047079035313836</c:v>
                </c:pt>
                <c:pt idx="1238">
                  <c:v>2.468790927002773</c:v>
                </c:pt>
                <c:pt idx="1239">
                  <c:v>2.5018893065431489</c:v>
                </c:pt>
                <c:pt idx="1240">
                  <c:v>2.4121635544503675</c:v>
                </c:pt>
                <c:pt idx="1241">
                  <c:v>2.4038388682565643</c:v>
                </c:pt>
                <c:pt idx="1242">
                  <c:v>2.4005205454619829</c:v>
                </c:pt>
                <c:pt idx="1243">
                  <c:v>2.5201979782275745</c:v>
                </c:pt>
                <c:pt idx="1244">
                  <c:v>2.5148933431666176</c:v>
                </c:pt>
                <c:pt idx="1245">
                  <c:v>2.4966166744535139</c:v>
                </c:pt>
                <c:pt idx="1246">
                  <c:v>2.5386913363454044</c:v>
                </c:pt>
                <c:pt idx="1247">
                  <c:v>2.4585351160622118</c:v>
                </c:pt>
                <c:pt idx="1248">
                  <c:v>2.4425348958243802</c:v>
                </c:pt>
                <c:pt idx="1249">
                  <c:v>2.3381030073873608</c:v>
                </c:pt>
                <c:pt idx="1250">
                  <c:v>2.3379169158031701</c:v>
                </c:pt>
                <c:pt idx="1251">
                  <c:v>2.3151328347754232</c:v>
                </c:pt>
                <c:pt idx="1252">
                  <c:v>2.2448194652815832</c:v>
                </c:pt>
                <c:pt idx="1253">
                  <c:v>2.2660641328580122</c:v>
                </c:pt>
                <c:pt idx="1254">
                  <c:v>2.2549741023473353</c:v>
                </c:pt>
                <c:pt idx="1255">
                  <c:v>2.1610791791827602</c:v>
                </c:pt>
                <c:pt idx="1256">
                  <c:v>2.0203285721196043</c:v>
                </c:pt>
                <c:pt idx="1257">
                  <c:v>2.0268041224252067</c:v>
                </c:pt>
                <c:pt idx="1258">
                  <c:v>2.0921437979681308</c:v>
                </c:pt>
                <c:pt idx="1259">
                  <c:v>1.9858892602344438</c:v>
                </c:pt>
                <c:pt idx="1260">
                  <c:v>1.9247461259905625</c:v>
                </c:pt>
                <c:pt idx="1261">
                  <c:v>1.6833153358362083</c:v>
                </c:pt>
                <c:pt idx="1262">
                  <c:v>1.6940451688297351</c:v>
                </c:pt>
                <c:pt idx="1263">
                  <c:v>1.6249142189008317</c:v>
                </c:pt>
                <c:pt idx="1264">
                  <c:v>1.6428720357126028</c:v>
                </c:pt>
                <c:pt idx="1265">
                  <c:v>1.6725595988893316</c:v>
                </c:pt>
                <c:pt idx="1266">
                  <c:v>1.6992221470696454</c:v>
                </c:pt>
                <c:pt idx="1267">
                  <c:v>1.7417058147450903</c:v>
                </c:pt>
                <c:pt idx="1268">
                  <c:v>1.7073600353275569</c:v>
                </c:pt>
                <c:pt idx="1269">
                  <c:v>1.7379015467483616</c:v>
                </c:pt>
                <c:pt idx="1270">
                  <c:v>1.750321294343151</c:v>
                </c:pt>
                <c:pt idx="1271">
                  <c:v>1.6802512581192861</c:v>
                </c:pt>
                <c:pt idx="1272">
                  <c:v>1.6165380956092912</c:v>
                </c:pt>
                <c:pt idx="1273">
                  <c:v>1.582977519220476</c:v>
                </c:pt>
                <c:pt idx="1274">
                  <c:v>1.5750211829212541</c:v>
                </c:pt>
                <c:pt idx="1275">
                  <c:v>1.6542523882973006</c:v>
                </c:pt>
                <c:pt idx="1276">
                  <c:v>1.977162961414314</c:v>
                </c:pt>
                <c:pt idx="1277">
                  <c:v>2.1629464058400902</c:v>
                </c:pt>
                <c:pt idx="1278">
                  <c:v>2.295735114430971</c:v>
                </c:pt>
                <c:pt idx="1279">
                  <c:v>2.4568598480184964</c:v>
                </c:pt>
                <c:pt idx="1280">
                  <c:v>2.4578105071616099</c:v>
                </c:pt>
                <c:pt idx="1281">
                  <c:v>2.651874819901634</c:v>
                </c:pt>
                <c:pt idx="1282">
                  <c:v>2.7458741336489454</c:v>
                </c:pt>
                <c:pt idx="1283">
                  <c:v>2.7026393555854225</c:v>
                </c:pt>
                <c:pt idx="1284">
                  <c:v>2.7287111228046403</c:v>
                </c:pt>
                <c:pt idx="1285">
                  <c:v>2.7176470081339361</c:v>
                </c:pt>
                <c:pt idx="1286">
                  <c:v>2.7125356149487865</c:v>
                </c:pt>
                <c:pt idx="1287">
                  <c:v>2.7771310956714119</c:v>
                </c:pt>
                <c:pt idx="1288">
                  <c:v>2.7969550924235507</c:v>
                </c:pt>
                <c:pt idx="1289">
                  <c:v>2.7256039208431511</c:v>
                </c:pt>
                <c:pt idx="1290">
                  <c:v>2.6931577616671025</c:v>
                </c:pt>
                <c:pt idx="1291">
                  <c:v>2.6930793604789538</c:v>
                </c:pt>
                <c:pt idx="1292">
                  <c:v>2.6552839798068004</c:v>
                </c:pt>
                <c:pt idx="1293">
                  <c:v>2.6834531192819422</c:v>
                </c:pt>
                <c:pt idx="1294">
                  <c:v>2.6442929261967829</c:v>
                </c:pt>
                <c:pt idx="1295">
                  <c:v>2.5762310645248423</c:v>
                </c:pt>
                <c:pt idx="1296">
                  <c:v>2.6644269008612107</c:v>
                </c:pt>
                <c:pt idx="1297">
                  <c:v>2.6221799330954543</c:v>
                </c:pt>
                <c:pt idx="1298">
                  <c:v>2.5062915234957139</c:v>
                </c:pt>
                <c:pt idx="1299">
                  <c:v>2.5592519512692631</c:v>
                </c:pt>
                <c:pt idx="1300">
                  <c:v>2.4254286931402165</c:v>
                </c:pt>
                <c:pt idx="1301">
                  <c:v>2.4649560189986373</c:v>
                </c:pt>
                <c:pt idx="1302">
                  <c:v>2.4794846143349445</c:v>
                </c:pt>
                <c:pt idx="1303">
                  <c:v>2.4069981503886528</c:v>
                </c:pt>
                <c:pt idx="1304">
                  <c:v>2.3103014814558867</c:v>
                </c:pt>
                <c:pt idx="1305">
                  <c:v>2.0981363470493406</c:v>
                </c:pt>
                <c:pt idx="1306">
                  <c:v>2.1742362559985504</c:v>
                </c:pt>
                <c:pt idx="1307">
                  <c:v>2.1305826819556697</c:v>
                </c:pt>
                <c:pt idx="1308">
                  <c:v>2.1968014362370711</c:v>
                </c:pt>
                <c:pt idx="1309">
                  <c:v>2.1789648987211097</c:v>
                </c:pt>
                <c:pt idx="1310">
                  <c:v>2.1963805324552559</c:v>
                </c:pt>
                <c:pt idx="1311">
                  <c:v>2.2046129223484066</c:v>
                </c:pt>
                <c:pt idx="1312">
                  <c:v>2.1283518997795672</c:v>
                </c:pt>
                <c:pt idx="1313">
                  <c:v>2.125521666121112</c:v>
                </c:pt>
                <c:pt idx="1314">
                  <c:v>2.1735637273007056</c:v>
                </c:pt>
                <c:pt idx="1315">
                  <c:v>2.1722399728391202</c:v>
                </c:pt>
                <c:pt idx="1316">
                  <c:v>2.1867406185950387</c:v>
                </c:pt>
                <c:pt idx="1317">
                  <c:v>2.1676385108604279</c:v>
                </c:pt>
                <c:pt idx="1318">
                  <c:v>2.1716000544321794</c:v>
                </c:pt>
                <c:pt idx="1319">
                  <c:v>2.1893561541419415</c:v>
                </c:pt>
                <c:pt idx="1320">
                  <c:v>2.1721507883581985</c:v>
                </c:pt>
                <c:pt idx="1321">
                  <c:v>2.114684832292304</c:v>
                </c:pt>
                <c:pt idx="1322">
                  <c:v>2.1187990743489595</c:v>
                </c:pt>
                <c:pt idx="1323">
                  <c:v>2.206842320117087</c:v>
                </c:pt>
                <c:pt idx="1324">
                  <c:v>2.1897323066687675</c:v>
                </c:pt>
                <c:pt idx="1325">
                  <c:v>2.1855141390293658</c:v>
                </c:pt>
                <c:pt idx="1326">
                  <c:v>2.1837588306426299</c:v>
                </c:pt>
                <c:pt idx="1327">
                  <c:v>2.1295356871762987</c:v>
                </c:pt>
                <c:pt idx="1328">
                  <c:v>2.1011107327330212</c:v>
                </c:pt>
                <c:pt idx="1329">
                  <c:v>2.157038825190575</c:v>
                </c:pt>
                <c:pt idx="1330">
                  <c:v>2.1281653389584201</c:v>
                </c:pt>
                <c:pt idx="1331">
                  <c:v>2.1289542276106701</c:v>
                </c:pt>
                <c:pt idx="1332">
                  <c:v>2.0410489320231879</c:v>
                </c:pt>
                <c:pt idx="1333">
                  <c:v>2.0607504980716569</c:v>
                </c:pt>
                <c:pt idx="1334">
                  <c:v>2.0391094809597416</c:v>
                </c:pt>
                <c:pt idx="1335">
                  <c:v>1.9808113524885036</c:v>
                </c:pt>
                <c:pt idx="1336">
                  <c:v>1.9925486359556928</c:v>
                </c:pt>
                <c:pt idx="1337">
                  <c:v>1.9703907944105772</c:v>
                </c:pt>
                <c:pt idx="1338">
                  <c:v>1.9772176147643337</c:v>
                </c:pt>
                <c:pt idx="1339">
                  <c:v>2.0281781092217672</c:v>
                </c:pt>
                <c:pt idx="1340">
                  <c:v>2.0584485283602043</c:v>
                </c:pt>
                <c:pt idx="1341">
                  <c:v>2.0943126703488386</c:v>
                </c:pt>
                <c:pt idx="1342">
                  <c:v>2.1500228051671511</c:v>
                </c:pt>
                <c:pt idx="1343">
                  <c:v>2.2047575454003603</c:v>
                </c:pt>
                <c:pt idx="1344">
                  <c:v>2.2225727736776313</c:v>
                </c:pt>
                <c:pt idx="1345">
                  <c:v>2.1441552140179616</c:v>
                </c:pt>
                <c:pt idx="1346">
                  <c:v>2.147595730583574</c:v>
                </c:pt>
                <c:pt idx="1347">
                  <c:v>2.1451665727837765</c:v>
                </c:pt>
                <c:pt idx="1348">
                  <c:v>2.1640659356535008</c:v>
                </c:pt>
                <c:pt idx="1349">
                  <c:v>2.1474513960611219</c:v>
                </c:pt>
                <c:pt idx="1350">
                  <c:v>2.1588186585568487</c:v>
                </c:pt>
                <c:pt idx="1351">
                  <c:v>2.162431464203364</c:v>
                </c:pt>
                <c:pt idx="1352">
                  <c:v>2.2306015780462074</c:v>
                </c:pt>
                <c:pt idx="1353">
                  <c:v>2.2813417190549705</c:v>
                </c:pt>
                <c:pt idx="1354">
                  <c:v>2.2126995052840468</c:v>
                </c:pt>
                <c:pt idx="1355">
                  <c:v>2.2757869531459844</c:v>
                </c:pt>
                <c:pt idx="1356">
                  <c:v>2.3020352328872367</c:v>
                </c:pt>
                <c:pt idx="1357">
                  <c:v>2.288878834733814</c:v>
                </c:pt>
                <c:pt idx="1358">
                  <c:v>2.3200417662640551</c:v>
                </c:pt>
                <c:pt idx="1359">
                  <c:v>2.2602749384701477</c:v>
                </c:pt>
                <c:pt idx="1360">
                  <c:v>2.2376979068127354</c:v>
                </c:pt>
                <c:pt idx="1361">
                  <c:v>2.2236661205606265</c:v>
                </c:pt>
                <c:pt idx="1362">
                  <c:v>2.1685222112818905</c:v>
                </c:pt>
                <c:pt idx="1363">
                  <c:v>2.1832862444494476</c:v>
                </c:pt>
                <c:pt idx="1364">
                  <c:v>2.1273073160583746</c:v>
                </c:pt>
                <c:pt idx="1365">
                  <c:v>2.1527698075108872</c:v>
                </c:pt>
                <c:pt idx="1366">
                  <c:v>2.1727404834831545</c:v>
                </c:pt>
                <c:pt idx="1367">
                  <c:v>2.2109960046197932</c:v>
                </c:pt>
                <c:pt idx="1368">
                  <c:v>2.2471029365766317</c:v>
                </c:pt>
                <c:pt idx="1369">
                  <c:v>2.2487831953682718</c:v>
                </c:pt>
                <c:pt idx="1370">
                  <c:v>2.1283071400351776</c:v>
                </c:pt>
                <c:pt idx="1371">
                  <c:v>2.2075823224286517</c:v>
                </c:pt>
                <c:pt idx="1372">
                  <c:v>2.0980712897662128</c:v>
                </c:pt>
                <c:pt idx="1373">
                  <c:v>2.1025080130414686</c:v>
                </c:pt>
                <c:pt idx="1374">
                  <c:v>2.0053974977019426</c:v>
                </c:pt>
                <c:pt idx="1375">
                  <c:v>1.975800813924568</c:v>
                </c:pt>
                <c:pt idx="1376">
                  <c:v>2.1091834341116487</c:v>
                </c:pt>
                <c:pt idx="1377">
                  <c:v>2.1808047499729692</c:v>
                </c:pt>
                <c:pt idx="1378">
                  <c:v>2.1819076228001695</c:v>
                </c:pt>
                <c:pt idx="1379">
                  <c:v>2.2446918338498669</c:v>
                </c:pt>
                <c:pt idx="1380">
                  <c:v>2.2815779180521649</c:v>
                </c:pt>
                <c:pt idx="1381">
                  <c:v>2.2664018329246058</c:v>
                </c:pt>
                <c:pt idx="1382">
                  <c:v>2.2983320910569067</c:v>
                </c:pt>
                <c:pt idx="1383">
                  <c:v>2.2458353490801981</c:v>
                </c:pt>
                <c:pt idx="1384">
                  <c:v>2.2100351979755368</c:v>
                </c:pt>
                <c:pt idx="1385">
                  <c:v>2.2398740617883361</c:v>
                </c:pt>
                <c:pt idx="1386">
                  <c:v>2.2647076494729057</c:v>
                </c:pt>
                <c:pt idx="1387">
                  <c:v>2.2904749080405313</c:v>
                </c:pt>
                <c:pt idx="1388">
                  <c:v>2.2841934804298845</c:v>
                </c:pt>
                <c:pt idx="1389">
                  <c:v>2.2638084236625655</c:v>
                </c:pt>
                <c:pt idx="1390">
                  <c:v>2.2919087331659518</c:v>
                </c:pt>
                <c:pt idx="1391">
                  <c:v>2.34632823755482</c:v>
                </c:pt>
                <c:pt idx="1392">
                  <c:v>2.3104731817632138</c:v>
                </c:pt>
                <c:pt idx="1393">
                  <c:v>2.2997183573729738</c:v>
                </c:pt>
                <c:pt idx="1394">
                  <c:v>2.2667041988309324</c:v>
                </c:pt>
                <c:pt idx="1395">
                  <c:v>2.3616374734555476</c:v>
                </c:pt>
                <c:pt idx="1396">
                  <c:v>2.3153522301206291</c:v>
                </c:pt>
                <c:pt idx="1397">
                  <c:v>2.260469623404147</c:v>
                </c:pt>
                <c:pt idx="1398">
                  <c:v>2.1990566957260338</c:v>
                </c:pt>
                <c:pt idx="1399">
                  <c:v>2.2357848395477236</c:v>
                </c:pt>
                <c:pt idx="1400">
                  <c:v>2.2405574644964252</c:v>
                </c:pt>
                <c:pt idx="1401">
                  <c:v>2.2049102196440229</c:v>
                </c:pt>
                <c:pt idx="1402">
                  <c:v>2.1758290231885917</c:v>
                </c:pt>
                <c:pt idx="1403">
                  <c:v>2.1388494512304681</c:v>
                </c:pt>
                <c:pt idx="1404">
                  <c:v>2.1543548509014454</c:v>
                </c:pt>
                <c:pt idx="1405">
                  <c:v>2.165515337793555</c:v>
                </c:pt>
                <c:pt idx="1406">
                  <c:v>2.2047841472698875</c:v>
                </c:pt>
                <c:pt idx="1407">
                  <c:v>2.1387616997833021</c:v>
                </c:pt>
                <c:pt idx="1408">
                  <c:v>2.1223687950985908</c:v>
                </c:pt>
                <c:pt idx="1409">
                  <c:v>2.1229751645452062</c:v>
                </c:pt>
                <c:pt idx="1410">
                  <c:v>2.1345328983262686</c:v>
                </c:pt>
                <c:pt idx="1411">
                  <c:v>2.1094988987527277</c:v>
                </c:pt>
                <c:pt idx="1412">
                  <c:v>2.0849438474177844</c:v>
                </c:pt>
                <c:pt idx="1413">
                  <c:v>2.0351808462753671</c:v>
                </c:pt>
                <c:pt idx="1414">
                  <c:v>2.025981072678495</c:v>
                </c:pt>
                <c:pt idx="1415">
                  <c:v>1.9730191098196432</c:v>
                </c:pt>
                <c:pt idx="1416">
                  <c:v>1.9745849868857375</c:v>
                </c:pt>
                <c:pt idx="1417">
                  <c:v>1.9889414344969292</c:v>
                </c:pt>
                <c:pt idx="1418">
                  <c:v>1.9898459022381279</c:v>
                </c:pt>
                <c:pt idx="1419">
                  <c:v>1.9869253608490181</c:v>
                </c:pt>
                <c:pt idx="1420">
                  <c:v>2.0244695232622334</c:v>
                </c:pt>
                <c:pt idx="1421">
                  <c:v>2.0291416412441623</c:v>
                </c:pt>
                <c:pt idx="1422">
                  <c:v>1.9970439364564729</c:v>
                </c:pt>
                <c:pt idx="1423">
                  <c:v>1.9777644246559851</c:v>
                </c:pt>
                <c:pt idx="1424">
                  <c:v>1.9760647201426591</c:v>
                </c:pt>
                <c:pt idx="1425">
                  <c:v>2.0101272080436989</c:v>
                </c:pt>
                <c:pt idx="1426">
                  <c:v>1.9655376190889047</c:v>
                </c:pt>
                <c:pt idx="1427">
                  <c:v>1.9657562504506787</c:v>
                </c:pt>
                <c:pt idx="1428">
                  <c:v>2.026766064622993</c:v>
                </c:pt>
                <c:pt idx="1429">
                  <c:v>2.0277805780438216</c:v>
                </c:pt>
                <c:pt idx="1430">
                  <c:v>2.0353270298329074</c:v>
                </c:pt>
                <c:pt idx="1431">
                  <c:v>2.0107258820697149</c:v>
                </c:pt>
                <c:pt idx="1432">
                  <c:v>2.0599537809542361</c:v>
                </c:pt>
                <c:pt idx="1433">
                  <c:v>2.0803777452998116</c:v>
                </c:pt>
                <c:pt idx="1434">
                  <c:v>2.053101855314218</c:v>
                </c:pt>
                <c:pt idx="1435">
                  <c:v>2.0602861001662727</c:v>
                </c:pt>
                <c:pt idx="1436">
                  <c:v>2.091185327496309</c:v>
                </c:pt>
                <c:pt idx="1437">
                  <c:v>2.0214097986257697</c:v>
                </c:pt>
                <c:pt idx="1438">
                  <c:v>2.0230339811620288</c:v>
                </c:pt>
                <c:pt idx="1439">
                  <c:v>2.0103627384127041</c:v>
                </c:pt>
                <c:pt idx="1440">
                  <c:v>1.9992009423050749</c:v>
                </c:pt>
                <c:pt idx="1441">
                  <c:v>1.9185332751920667</c:v>
                </c:pt>
                <c:pt idx="1442">
                  <c:v>1.9037000645688211</c:v>
                </c:pt>
                <c:pt idx="1443">
                  <c:v>1.9934974715808711</c:v>
                </c:pt>
                <c:pt idx="1444">
                  <c:v>2.0172608045243399</c:v>
                </c:pt>
                <c:pt idx="1445">
                  <c:v>2.0353713893138945</c:v>
                </c:pt>
                <c:pt idx="1446">
                  <c:v>2.097357051787732</c:v>
                </c:pt>
                <c:pt idx="1447">
                  <c:v>2.0979958953390505</c:v>
                </c:pt>
                <c:pt idx="1448">
                  <c:v>2.0501500574722282</c:v>
                </c:pt>
                <c:pt idx="1449">
                  <c:v>1.9910217030511728</c:v>
                </c:pt>
                <c:pt idx="1450">
                  <c:v>2.090550523889632</c:v>
                </c:pt>
                <c:pt idx="1451">
                  <c:v>2.0304501485922812</c:v>
                </c:pt>
                <c:pt idx="1452">
                  <c:v>1.9811556911477981</c:v>
                </c:pt>
                <c:pt idx="1453">
                  <c:v>1.9498270811777805</c:v>
                </c:pt>
                <c:pt idx="1454">
                  <c:v>1.9649808944562441</c:v>
                </c:pt>
                <c:pt idx="1455">
                  <c:v>1.9700783148404168</c:v>
                </c:pt>
                <c:pt idx="1456">
                  <c:v>1.9413845478160379</c:v>
                </c:pt>
                <c:pt idx="1457">
                  <c:v>1.9664392941898641</c:v>
                </c:pt>
                <c:pt idx="1458">
                  <c:v>1.9784645232410976</c:v>
                </c:pt>
                <c:pt idx="1459">
                  <c:v>1.9197881188815422</c:v>
                </c:pt>
                <c:pt idx="1460">
                  <c:v>1.8995490257893852</c:v>
                </c:pt>
                <c:pt idx="1461">
                  <c:v>1.8775863467886633</c:v>
                </c:pt>
                <c:pt idx="1462">
                  <c:v>1.8797686715651216</c:v>
                </c:pt>
                <c:pt idx="1463">
                  <c:v>1.8921072976369231</c:v>
                </c:pt>
                <c:pt idx="1464">
                  <c:v>1.8791521105017721</c:v>
                </c:pt>
                <c:pt idx="1465">
                  <c:v>1.9535452668343196</c:v>
                </c:pt>
                <c:pt idx="1466">
                  <c:v>1.9321390452870038</c:v>
                </c:pt>
                <c:pt idx="1467">
                  <c:v>1.9788356762522776</c:v>
                </c:pt>
                <c:pt idx="1468">
                  <c:v>2.0287584910088441</c:v>
                </c:pt>
                <c:pt idx="1469">
                  <c:v>2.0177728047137213</c:v>
                </c:pt>
                <c:pt idx="1470">
                  <c:v>2.0267527354541617</c:v>
                </c:pt>
                <c:pt idx="1471">
                  <c:v>2.0118378888729054</c:v>
                </c:pt>
                <c:pt idx="1472">
                  <c:v>1.971796700210672</c:v>
                </c:pt>
                <c:pt idx="1473">
                  <c:v>1.9619436243264217</c:v>
                </c:pt>
                <c:pt idx="1474">
                  <c:v>1.9482725043882305</c:v>
                </c:pt>
                <c:pt idx="1475">
                  <c:v>1.9262645143169392</c:v>
                </c:pt>
                <c:pt idx="1476">
                  <c:v>1.918886381331435</c:v>
                </c:pt>
                <c:pt idx="1477">
                  <c:v>1.9014962280918226</c:v>
                </c:pt>
                <c:pt idx="1478">
                  <c:v>1.9253728255055971</c:v>
                </c:pt>
                <c:pt idx="1479">
                  <c:v>1.8875306310238786</c:v>
                </c:pt>
                <c:pt idx="1480">
                  <c:v>1.875638201170527</c:v>
                </c:pt>
                <c:pt idx="1481">
                  <c:v>1.8910720660648856</c:v>
                </c:pt>
                <c:pt idx="1482">
                  <c:v>1.9347994820685344</c:v>
                </c:pt>
                <c:pt idx="1483">
                  <c:v>1.9341556211340425</c:v>
                </c:pt>
                <c:pt idx="1484">
                  <c:v>2.0460579537909065</c:v>
                </c:pt>
                <c:pt idx="1485">
                  <c:v>2.1152676936501962</c:v>
                </c:pt>
                <c:pt idx="1486">
                  <c:v>2.1056612489427207</c:v>
                </c:pt>
                <c:pt idx="1487">
                  <c:v>2.1718277298765889</c:v>
                </c:pt>
                <c:pt idx="1488">
                  <c:v>2.0975639770634733</c:v>
                </c:pt>
                <c:pt idx="1489">
                  <c:v>2.1237318367912037</c:v>
                </c:pt>
                <c:pt idx="1490">
                  <c:v>2.1053852233247343</c:v>
                </c:pt>
                <c:pt idx="1491">
                  <c:v>2.1837311587622712</c:v>
                </c:pt>
                <c:pt idx="1492">
                  <c:v>2.1686235105083775</c:v>
                </c:pt>
                <c:pt idx="1493">
                  <c:v>2.1669057008462707</c:v>
                </c:pt>
                <c:pt idx="1494">
                  <c:v>2.1214961965904777</c:v>
                </c:pt>
                <c:pt idx="1495">
                  <c:v>2.082770509596676</c:v>
                </c:pt>
                <c:pt idx="1496">
                  <c:v>2.1181555970670911</c:v>
                </c:pt>
                <c:pt idx="1497">
                  <c:v>2.1934385887910044</c:v>
                </c:pt>
                <c:pt idx="1498">
                  <c:v>2.1436219951645805</c:v>
                </c:pt>
                <c:pt idx="1499">
                  <c:v>2.1355747800029432</c:v>
                </c:pt>
                <c:pt idx="1500">
                  <c:v>2.1588013696892823</c:v>
                </c:pt>
                <c:pt idx="1501">
                  <c:v>2.1526406814636747</c:v>
                </c:pt>
                <c:pt idx="1502">
                  <c:v>2.1465629954659957</c:v>
                </c:pt>
                <c:pt idx="1503">
                  <c:v>2.1474073654799017</c:v>
                </c:pt>
                <c:pt idx="1504">
                  <c:v>2.1869579408625452</c:v>
                </c:pt>
                <c:pt idx="1505">
                  <c:v>2.1913517681464643</c:v>
                </c:pt>
                <c:pt idx="1506">
                  <c:v>2.2012896214518811</c:v>
                </c:pt>
                <c:pt idx="1507">
                  <c:v>2.1908066723038329</c:v>
                </c:pt>
                <c:pt idx="1508">
                  <c:v>2.0955742083673314</c:v>
                </c:pt>
                <c:pt idx="1509">
                  <c:v>2.1226749320065013</c:v>
                </c:pt>
                <c:pt idx="1510">
                  <c:v>2.2098806258932795</c:v>
                </c:pt>
                <c:pt idx="1511">
                  <c:v>2.2187458219239886</c:v>
                </c:pt>
                <c:pt idx="1512">
                  <c:v>2.1477885476940255</c:v>
                </c:pt>
                <c:pt idx="1513">
                  <c:v>2.1856045672236952</c:v>
                </c:pt>
                <c:pt idx="1514">
                  <c:v>2.1945676692583955</c:v>
                </c:pt>
                <c:pt idx="1515">
                  <c:v>2.0768034553605768</c:v>
                </c:pt>
                <c:pt idx="1516">
                  <c:v>1.9915741824402231</c:v>
                </c:pt>
                <c:pt idx="1517">
                  <c:v>1.9932640499727792</c:v>
                </c:pt>
                <c:pt idx="1518">
                  <c:v>1.9269967894828799</c:v>
                </c:pt>
                <c:pt idx="1519">
                  <c:v>1.9335370996722858</c:v>
                </c:pt>
                <c:pt idx="1520">
                  <c:v>1.9137417630830544</c:v>
                </c:pt>
                <c:pt idx="1521">
                  <c:v>1.8932647556992235</c:v>
                </c:pt>
                <c:pt idx="1522">
                  <c:v>1.7969044345666385</c:v>
                </c:pt>
                <c:pt idx="1523">
                  <c:v>1.7727667238761284</c:v>
                </c:pt>
                <c:pt idx="1524">
                  <c:v>1.7863126828686839</c:v>
                </c:pt>
                <c:pt idx="1525">
                  <c:v>1.7849717738770325</c:v>
                </c:pt>
                <c:pt idx="1526">
                  <c:v>1.8012697319652189</c:v>
                </c:pt>
                <c:pt idx="1527">
                  <c:v>1.7554035857508568</c:v>
                </c:pt>
                <c:pt idx="1528">
                  <c:v>1.7285144479429517</c:v>
                </c:pt>
                <c:pt idx="1529">
                  <c:v>1.7238721477329197</c:v>
                </c:pt>
                <c:pt idx="1530">
                  <c:v>1.6283302319170032</c:v>
                </c:pt>
                <c:pt idx="1531">
                  <c:v>1.7543504974268709</c:v>
                </c:pt>
                <c:pt idx="1532">
                  <c:v>1.7511151694338494</c:v>
                </c:pt>
                <c:pt idx="1533">
                  <c:v>1.7587379445380651</c:v>
                </c:pt>
                <c:pt idx="1534">
                  <c:v>1.7656887615404944</c:v>
                </c:pt>
                <c:pt idx="1535">
                  <c:v>1.7421739290643012</c:v>
                </c:pt>
                <c:pt idx="1536">
                  <c:v>1.7440875226799746</c:v>
                </c:pt>
                <c:pt idx="1537">
                  <c:v>1.7616695505793776</c:v>
                </c:pt>
                <c:pt idx="1538">
                  <c:v>1.8808295909612569</c:v>
                </c:pt>
                <c:pt idx="1539">
                  <c:v>1.8823229757260664</c:v>
                </c:pt>
                <c:pt idx="1540">
                  <c:v>1.8244073281468205</c:v>
                </c:pt>
                <c:pt idx="1541">
                  <c:v>1.7177472594601688</c:v>
                </c:pt>
                <c:pt idx="1542">
                  <c:v>1.7053326953659047</c:v>
                </c:pt>
                <c:pt idx="1543">
                  <c:v>1.7738433461924046</c:v>
                </c:pt>
                <c:pt idx="1544">
                  <c:v>1.6938674338618518</c:v>
                </c:pt>
                <c:pt idx="1545">
                  <c:v>1.762481305910353</c:v>
                </c:pt>
                <c:pt idx="1546">
                  <c:v>1.7896448688988469</c:v>
                </c:pt>
                <c:pt idx="1547">
                  <c:v>1.8059124634998855</c:v>
                </c:pt>
                <c:pt idx="1548">
                  <c:v>1.823779847367184</c:v>
                </c:pt>
                <c:pt idx="1549">
                  <c:v>1.8903177885912179</c:v>
                </c:pt>
                <c:pt idx="1550">
                  <c:v>1.8931614902934784</c:v>
                </c:pt>
                <c:pt idx="1551">
                  <c:v>1.892356202410332</c:v>
                </c:pt>
                <c:pt idx="1552">
                  <c:v>1.8939334037050919</c:v>
                </c:pt>
                <c:pt idx="1553">
                  <c:v>1.9332850390950362</c:v>
                </c:pt>
                <c:pt idx="1554">
                  <c:v>1.9650791195191006</c:v>
                </c:pt>
                <c:pt idx="1555">
                  <c:v>1.9657361786098995</c:v>
                </c:pt>
                <c:pt idx="1556">
                  <c:v>1.9709721415574848</c:v>
                </c:pt>
                <c:pt idx="1557">
                  <c:v>1.9422827946662635</c:v>
                </c:pt>
                <c:pt idx="1558">
                  <c:v>1.8945637289613841</c:v>
                </c:pt>
                <c:pt idx="1559">
                  <c:v>1.9099686107884355</c:v>
                </c:pt>
                <c:pt idx="1560">
                  <c:v>1.8759588324167518</c:v>
                </c:pt>
                <c:pt idx="1561">
                  <c:v>1.8990757175065172</c:v>
                </c:pt>
                <c:pt idx="1562">
                  <c:v>1.8698561065118904</c:v>
                </c:pt>
                <c:pt idx="1563">
                  <c:v>1.862450138654111</c:v>
                </c:pt>
                <c:pt idx="1564">
                  <c:v>1.9167489656582095</c:v>
                </c:pt>
                <c:pt idx="1565">
                  <c:v>1.9464172073077191</c:v>
                </c:pt>
                <c:pt idx="1566">
                  <c:v>1.9011847648703324</c:v>
                </c:pt>
                <c:pt idx="1567">
                  <c:v>1.8647767533462256</c:v>
                </c:pt>
                <c:pt idx="1568">
                  <c:v>1.8983006520781318</c:v>
                </c:pt>
                <c:pt idx="1569">
                  <c:v>1.8746818563588585</c:v>
                </c:pt>
                <c:pt idx="1570">
                  <c:v>1.9239045431142701</c:v>
                </c:pt>
                <c:pt idx="1571">
                  <c:v>2.0019146615858241</c:v>
                </c:pt>
                <c:pt idx="1572">
                  <c:v>2.0479002213985935</c:v>
                </c:pt>
                <c:pt idx="1573">
                  <c:v>2.0660963027614963</c:v>
                </c:pt>
                <c:pt idx="1574">
                  <c:v>2.0161812317067302</c:v>
                </c:pt>
                <c:pt idx="1575">
                  <c:v>2.0812412814191341</c:v>
                </c:pt>
                <c:pt idx="1576">
                  <c:v>2.0329147934776337</c:v>
                </c:pt>
                <c:pt idx="1577">
                  <c:v>1.9998483902369133</c:v>
                </c:pt>
                <c:pt idx="1578">
                  <c:v>2.0449925404162546</c:v>
                </c:pt>
                <c:pt idx="1579">
                  <c:v>2.0805378383038931</c:v>
                </c:pt>
                <c:pt idx="1580">
                  <c:v>2.1185084850829661</c:v>
                </c:pt>
                <c:pt idx="1581">
                  <c:v>2.2116031477349591</c:v>
                </c:pt>
                <c:pt idx="1582">
                  <c:v>2.2627550526582025</c:v>
                </c:pt>
                <c:pt idx="1583">
                  <c:v>2.2618767377923459</c:v>
                </c:pt>
                <c:pt idx="1584">
                  <c:v>2.2620785132734182</c:v>
                </c:pt>
                <c:pt idx="1585">
                  <c:v>2.2987010809492943</c:v>
                </c:pt>
                <c:pt idx="1586">
                  <c:v>2.293300432310148</c:v>
                </c:pt>
                <c:pt idx="1587">
                  <c:v>2.3136994212725215</c:v>
                </c:pt>
                <c:pt idx="1588">
                  <c:v>2.3532672776255414</c:v>
                </c:pt>
                <c:pt idx="1589">
                  <c:v>2.4451525866767243</c:v>
                </c:pt>
                <c:pt idx="1590">
                  <c:v>2.4842175962808444</c:v>
                </c:pt>
                <c:pt idx="1591">
                  <c:v>2.4829420720141404</c:v>
                </c:pt>
                <c:pt idx="1592">
                  <c:v>2.4756118532212339</c:v>
                </c:pt>
                <c:pt idx="1593">
                  <c:v>2.4048741938051275</c:v>
                </c:pt>
                <c:pt idx="1594">
                  <c:v>2.4718033464506028</c:v>
                </c:pt>
                <c:pt idx="1595">
                  <c:v>2.5165569569596418</c:v>
                </c:pt>
                <c:pt idx="1596">
                  <c:v>2.5046503269845637</c:v>
                </c:pt>
                <c:pt idx="1597">
                  <c:v>2.5315072438410757</c:v>
                </c:pt>
                <c:pt idx="1598">
                  <c:v>2.5265330816359972</c:v>
                </c:pt>
                <c:pt idx="1599">
                  <c:v>2.5741058932987939</c:v>
                </c:pt>
                <c:pt idx="1600">
                  <c:v>2.6075824059331936</c:v>
                </c:pt>
                <c:pt idx="1601">
                  <c:v>2.5546607711315645</c:v>
                </c:pt>
                <c:pt idx="1602">
                  <c:v>2.5077859385709393</c:v>
                </c:pt>
                <c:pt idx="1603">
                  <c:v>2.5109278271735898</c:v>
                </c:pt>
                <c:pt idx="1604">
                  <c:v>2.511657632858002</c:v>
                </c:pt>
                <c:pt idx="1605">
                  <c:v>2.5390410755287625</c:v>
                </c:pt>
                <c:pt idx="1606">
                  <c:v>2.5140113540048725</c:v>
                </c:pt>
                <c:pt idx="1607">
                  <c:v>2.528719882158609</c:v>
                </c:pt>
                <c:pt idx="1608">
                  <c:v>2.5339773370303993</c:v>
                </c:pt>
                <c:pt idx="1609">
                  <c:v>2.4958256449617799</c:v>
                </c:pt>
                <c:pt idx="1610">
                  <c:v>2.5207018808451624</c:v>
                </c:pt>
                <c:pt idx="1611">
                  <c:v>2.4839251079812983</c:v>
                </c:pt>
                <c:pt idx="1612">
                  <c:v>2.4885847979588762</c:v>
                </c:pt>
                <c:pt idx="1613">
                  <c:v>2.4521058076015674</c:v>
                </c:pt>
                <c:pt idx="1614">
                  <c:v>2.4755195263347005</c:v>
                </c:pt>
                <c:pt idx="1615">
                  <c:v>2.4264496794170483</c:v>
                </c:pt>
                <c:pt idx="1616">
                  <c:v>2.364504239494412</c:v>
                </c:pt>
                <c:pt idx="1617">
                  <c:v>2.380619339671064</c:v>
                </c:pt>
                <c:pt idx="1618">
                  <c:v>2.3844603404666147</c:v>
                </c:pt>
                <c:pt idx="1619">
                  <c:v>2.393206267588547</c:v>
                </c:pt>
                <c:pt idx="1620">
                  <c:v>2.367036880137495</c:v>
                </c:pt>
                <c:pt idx="1621">
                  <c:v>2.3041654351281631</c:v>
                </c:pt>
                <c:pt idx="1622">
                  <c:v>2.3241015784945298</c:v>
                </c:pt>
                <c:pt idx="1623">
                  <c:v>2.318401346629237</c:v>
                </c:pt>
                <c:pt idx="1624">
                  <c:v>2.3510234190742261</c:v>
                </c:pt>
                <c:pt idx="1625">
                  <c:v>2.317833220871611</c:v>
                </c:pt>
                <c:pt idx="1626">
                  <c:v>2.286302215204326</c:v>
                </c:pt>
                <c:pt idx="1627">
                  <c:v>2.2999220677704444</c:v>
                </c:pt>
                <c:pt idx="1628">
                  <c:v>2.2919717003716191</c:v>
                </c:pt>
                <c:pt idx="1629">
                  <c:v>2.2773865827314426</c:v>
                </c:pt>
                <c:pt idx="1630">
                  <c:v>2.2641513270255507</c:v>
                </c:pt>
                <c:pt idx="1631">
                  <c:v>2.1809245481746311</c:v>
                </c:pt>
                <c:pt idx="1632">
                  <c:v>2.1892728626037621</c:v>
                </c:pt>
                <c:pt idx="1633">
                  <c:v>2.165314742042598</c:v>
                </c:pt>
                <c:pt idx="1634">
                  <c:v>2.1559449942178399</c:v>
                </c:pt>
                <c:pt idx="1635">
                  <c:v>2.152596096502724</c:v>
                </c:pt>
                <c:pt idx="1636">
                  <c:v>2.0725653758521601</c:v>
                </c:pt>
                <c:pt idx="1637">
                  <c:v>2.0232290062760692</c:v>
                </c:pt>
                <c:pt idx="1638">
                  <c:v>1.9168750673931805</c:v>
                </c:pt>
                <c:pt idx="1639">
                  <c:v>1.9278585951766642</c:v>
                </c:pt>
                <c:pt idx="1640">
                  <c:v>1.8427337420755554</c:v>
                </c:pt>
                <c:pt idx="1641">
                  <c:v>1.9246591400749644</c:v>
                </c:pt>
                <c:pt idx="1642">
                  <c:v>1.8507178794545183</c:v>
                </c:pt>
                <c:pt idx="1643">
                  <c:v>1.9205230485159315</c:v>
                </c:pt>
                <c:pt idx="1644">
                  <c:v>1.8448253120241056</c:v>
                </c:pt>
                <c:pt idx="1645">
                  <c:v>1.9397977341122115</c:v>
                </c:pt>
                <c:pt idx="1646">
                  <c:v>1.9557755114633368</c:v>
                </c:pt>
                <c:pt idx="1647">
                  <c:v>1.9503066633340158</c:v>
                </c:pt>
                <c:pt idx="1648">
                  <c:v>1.9532133495080242</c:v>
                </c:pt>
                <c:pt idx="1649">
                  <c:v>1.9613061370131404</c:v>
                </c:pt>
                <c:pt idx="1650">
                  <c:v>1.8931964134064878</c:v>
                </c:pt>
                <c:pt idx="1651">
                  <c:v>1.8931964134064878</c:v>
                </c:pt>
                <c:pt idx="1652">
                  <c:v>1.9024396540603228</c:v>
                </c:pt>
                <c:pt idx="1653">
                  <c:v>1.8784257841718932</c:v>
                </c:pt>
                <c:pt idx="1654">
                  <c:v>1.8857561942267884</c:v>
                </c:pt>
                <c:pt idx="1655">
                  <c:v>1.9081202205701264</c:v>
                </c:pt>
                <c:pt idx="1656">
                  <c:v>1.9329154379096123</c:v>
                </c:pt>
                <c:pt idx="1657">
                  <c:v>1.8815079480394186</c:v>
                </c:pt>
                <c:pt idx="1658">
                  <c:v>1.9238670364515134</c:v>
                </c:pt>
                <c:pt idx="1659">
                  <c:v>1.9172707504530935</c:v>
                </c:pt>
                <c:pt idx="1660">
                  <c:v>1.9149202998381092</c:v>
                </c:pt>
                <c:pt idx="1661">
                  <c:v>1.9285631711437345</c:v>
                </c:pt>
                <c:pt idx="1662">
                  <c:v>1.919984559610892</c:v>
                </c:pt>
                <c:pt idx="1663">
                  <c:v>1.9212107027325156</c:v>
                </c:pt>
                <c:pt idx="1664">
                  <c:v>1.9197303492628186</c:v>
                </c:pt>
                <c:pt idx="1665">
                  <c:v>1.8906109246835623</c:v>
                </c:pt>
                <c:pt idx="1666">
                  <c:v>1.8440993439816762</c:v>
                </c:pt>
                <c:pt idx="1667">
                  <c:v>1.9207949197172194</c:v>
                </c:pt>
                <c:pt idx="1668">
                  <c:v>1.9031187133518768</c:v>
                </c:pt>
                <c:pt idx="1669">
                  <c:v>1.8857196253121722</c:v>
                </c:pt>
                <c:pt idx="1670">
                  <c:v>1.8541275668182513</c:v>
                </c:pt>
                <c:pt idx="1671">
                  <c:v>1.8736117642877217</c:v>
                </c:pt>
                <c:pt idx="1672">
                  <c:v>1.8186998284562617</c:v>
                </c:pt>
                <c:pt idx="1673">
                  <c:v>1.9102123969349769</c:v>
                </c:pt>
                <c:pt idx="1674">
                  <c:v>1.8284254934085322</c:v>
                </c:pt>
                <c:pt idx="1675">
                  <c:v>1.8446430278282901</c:v>
                </c:pt>
                <c:pt idx="1676">
                  <c:v>1.7819382727300443</c:v>
                </c:pt>
                <c:pt idx="1677">
                  <c:v>1.8289110604218182</c:v>
                </c:pt>
                <c:pt idx="1678">
                  <c:v>1.8713367841298436</c:v>
                </c:pt>
                <c:pt idx="1679">
                  <c:v>1.8712167317628334</c:v>
                </c:pt>
                <c:pt idx="1680">
                  <c:v>1.8849971495937898</c:v>
                </c:pt>
                <c:pt idx="1681">
                  <c:v>1.9165918832172324</c:v>
                </c:pt>
                <c:pt idx="1682">
                  <c:v>1.8848085665246428</c:v>
                </c:pt>
                <c:pt idx="1683">
                  <c:v>1.8876353343337313</c:v>
                </c:pt>
                <c:pt idx="1684">
                  <c:v>1.9587343323788442</c:v>
                </c:pt>
                <c:pt idx="1685">
                  <c:v>1.9977573848091497</c:v>
                </c:pt>
                <c:pt idx="1686">
                  <c:v>1.9276867442944865</c:v>
                </c:pt>
                <c:pt idx="1687">
                  <c:v>1.9438079656357961</c:v>
                </c:pt>
                <c:pt idx="1688">
                  <c:v>1.9986269169127309</c:v>
                </c:pt>
                <c:pt idx="1689">
                  <c:v>1.9951792963980997</c:v>
                </c:pt>
                <c:pt idx="1690">
                  <c:v>1.9895293317011196</c:v>
                </c:pt>
                <c:pt idx="1691">
                  <c:v>1.9921466714168454</c:v>
                </c:pt>
                <c:pt idx="1692">
                  <c:v>2.0020476499074089</c:v>
                </c:pt>
                <c:pt idx="1693">
                  <c:v>2.0875161386811896</c:v>
                </c:pt>
                <c:pt idx="1694">
                  <c:v>2.1343770218691831</c:v>
                </c:pt>
                <c:pt idx="1695">
                  <c:v>2.2023278443238876</c:v>
                </c:pt>
                <c:pt idx="1696">
                  <c:v>2.1698875498577848</c:v>
                </c:pt>
                <c:pt idx="1697">
                  <c:v>2.1792216547084271</c:v>
                </c:pt>
                <c:pt idx="1698">
                  <c:v>2.1304650583779465</c:v>
                </c:pt>
                <c:pt idx="1699">
                  <c:v>2.3147082633928662</c:v>
                </c:pt>
                <c:pt idx="1700">
                  <c:v>2.3160035383360293</c:v>
                </c:pt>
                <c:pt idx="1701">
                  <c:v>2.3191095837692246</c:v>
                </c:pt>
                <c:pt idx="1702">
                  <c:v>2.4016279025370979</c:v>
                </c:pt>
                <c:pt idx="1703">
                  <c:v>2.4895627502200863</c:v>
                </c:pt>
                <c:pt idx="1704">
                  <c:v>2.4397640442236876</c:v>
                </c:pt>
                <c:pt idx="1705">
                  <c:v>2.4973276039179031</c:v>
                </c:pt>
                <c:pt idx="1706">
                  <c:v>2.4589724387527134</c:v>
                </c:pt>
                <c:pt idx="1707">
                  <c:v>2.5667838390946276</c:v>
                </c:pt>
                <c:pt idx="1708">
                  <c:v>2.546696108325377</c:v>
                </c:pt>
                <c:pt idx="1709">
                  <c:v>2.6433778669700865</c:v>
                </c:pt>
                <c:pt idx="1710">
                  <c:v>2.6458503262976016</c:v>
                </c:pt>
                <c:pt idx="1711">
                  <c:v>2.7189121770740958</c:v>
                </c:pt>
                <c:pt idx="1712">
                  <c:v>2.7249298506269879</c:v>
                </c:pt>
                <c:pt idx="1713">
                  <c:v>2.7772105798474329</c:v>
                </c:pt>
                <c:pt idx="1714">
                  <c:v>2.7418151222138629</c:v>
                </c:pt>
                <c:pt idx="1715">
                  <c:v>2.7265299738011497</c:v>
                </c:pt>
                <c:pt idx="1716">
                  <c:v>2.7229482821702748</c:v>
                </c:pt>
                <c:pt idx="1717">
                  <c:v>2.6975505212207542</c:v>
                </c:pt>
                <c:pt idx="1718">
                  <c:v>2.7037366969703336</c:v>
                </c:pt>
                <c:pt idx="1719">
                  <c:v>2.5422557753428068</c:v>
                </c:pt>
                <c:pt idx="1720">
                  <c:v>2.5770114824985826</c:v>
                </c:pt>
                <c:pt idx="1721">
                  <c:v>2.5467004352155569</c:v>
                </c:pt>
                <c:pt idx="1722">
                  <c:v>2.546335275646022</c:v>
                </c:pt>
                <c:pt idx="1723">
                  <c:v>2.5428779027081529</c:v>
                </c:pt>
                <c:pt idx="1724">
                  <c:v>2.3785429639005056</c:v>
                </c:pt>
                <c:pt idx="1725">
                  <c:v>2.1984452792333391</c:v>
                </c:pt>
                <c:pt idx="1726">
                  <c:v>1.9756574226935089</c:v>
                </c:pt>
                <c:pt idx="1727">
                  <c:v>1.9702470094475255</c:v>
                </c:pt>
                <c:pt idx="1728">
                  <c:v>1.8252585641740791</c:v>
                </c:pt>
                <c:pt idx="1729">
                  <c:v>1.6710972124743375</c:v>
                </c:pt>
                <c:pt idx="1730">
                  <c:v>1.6557755946059016</c:v>
                </c:pt>
                <c:pt idx="1731">
                  <c:v>1.6313652344630556</c:v>
                </c:pt>
                <c:pt idx="1732">
                  <c:v>1.5842665964779727</c:v>
                </c:pt>
                <c:pt idx="1733">
                  <c:v>1.6755361261020081</c:v>
                </c:pt>
                <c:pt idx="1734">
                  <c:v>1.6699300850443661</c:v>
                </c:pt>
                <c:pt idx="1735">
                  <c:v>1.6798693630893211</c:v>
                </c:pt>
                <c:pt idx="1736">
                  <c:v>1.6852480942732901</c:v>
                </c:pt>
                <c:pt idx="1737">
                  <c:v>1.6094550896483424</c:v>
                </c:pt>
                <c:pt idx="1738">
                  <c:v>1.6071038866038363</c:v>
                </c:pt>
                <c:pt idx="1739">
                  <c:v>1.6496721760569313</c:v>
                </c:pt>
                <c:pt idx="1740">
                  <c:v>1.6332859076497461</c:v>
                </c:pt>
                <c:pt idx="1741">
                  <c:v>1.5968955931471467</c:v>
                </c:pt>
                <c:pt idx="1742">
                  <c:v>1.6166887133290568</c:v>
                </c:pt>
                <c:pt idx="1743">
                  <c:v>1.8581053751542946</c:v>
                </c:pt>
                <c:pt idx="1744">
                  <c:v>1.824673844732708</c:v>
                </c:pt>
                <c:pt idx="1745">
                  <c:v>1.8134240781053768</c:v>
                </c:pt>
                <c:pt idx="1746">
                  <c:v>1.7937870797403304</c:v>
                </c:pt>
                <c:pt idx="1747">
                  <c:v>1.9238239860308828</c:v>
                </c:pt>
                <c:pt idx="1748">
                  <c:v>1.9068487508283123</c:v>
                </c:pt>
                <c:pt idx="1749">
                  <c:v>2.0425520408108562</c:v>
                </c:pt>
                <c:pt idx="1750">
                  <c:v>2.0603616668365223</c:v>
                </c:pt>
                <c:pt idx="1751">
                  <c:v>2.0316381423073051</c:v>
                </c:pt>
                <c:pt idx="1752">
                  <c:v>2.1979942869876834</c:v>
                </c:pt>
                <c:pt idx="1753">
                  <c:v>2.3479120545133569</c:v>
                </c:pt>
                <c:pt idx="1754">
                  <c:v>2.4149647494234694</c:v>
                </c:pt>
                <c:pt idx="1755">
                  <c:v>2.3622268148399614</c:v>
                </c:pt>
                <c:pt idx="1756">
                  <c:v>2.3524992146383914</c:v>
                </c:pt>
                <c:pt idx="1757">
                  <c:v>2.282657329158333</c:v>
                </c:pt>
                <c:pt idx="1758">
                  <c:v>2.2047078877184489</c:v>
                </c:pt>
                <c:pt idx="1759">
                  <c:v>2.1660613828227988</c:v>
                </c:pt>
                <c:pt idx="1760">
                  <c:v>2.3082054320869134</c:v>
                </c:pt>
                <c:pt idx="1761">
                  <c:v>2.3676906352565394</c:v>
                </c:pt>
                <c:pt idx="1762">
                  <c:v>2.3674456108517541</c:v>
                </c:pt>
                <c:pt idx="1763">
                  <c:v>2.3874118165346565</c:v>
                </c:pt>
                <c:pt idx="1764">
                  <c:v>2.4031026480686442</c:v>
                </c:pt>
                <c:pt idx="1765">
                  <c:v>2.3482815791954836</c:v>
                </c:pt>
                <c:pt idx="1766">
                  <c:v>2.3376047534374456</c:v>
                </c:pt>
                <c:pt idx="1767">
                  <c:v>2.2863759087373148</c:v>
                </c:pt>
                <c:pt idx="1768">
                  <c:v>2.2441783844751328</c:v>
                </c:pt>
                <c:pt idx="1769">
                  <c:v>2.3153595992325049</c:v>
                </c:pt>
                <c:pt idx="1770">
                  <c:v>2.4128718186474676</c:v>
                </c:pt>
                <c:pt idx="1771">
                  <c:v>2.4729703462839843</c:v>
                </c:pt>
                <c:pt idx="1772">
                  <c:v>2.3701000424710821</c:v>
                </c:pt>
                <c:pt idx="1773">
                  <c:v>2.4103805544952168</c:v>
                </c:pt>
                <c:pt idx="1774">
                  <c:v>2.3611758002509573</c:v>
                </c:pt>
                <c:pt idx="1775">
                  <c:v>2.3179233942554909</c:v>
                </c:pt>
                <c:pt idx="1776">
                  <c:v>2.3069470732377759</c:v>
                </c:pt>
                <c:pt idx="1777">
                  <c:v>2.2578982102244618</c:v>
                </c:pt>
                <c:pt idx="1778">
                  <c:v>2.248422138965803</c:v>
                </c:pt>
                <c:pt idx="1779">
                  <c:v>2.1748593816103887</c:v>
                </c:pt>
                <c:pt idx="1780">
                  <c:v>2.1698605201659911</c:v>
                </c:pt>
                <c:pt idx="1781">
                  <c:v>2.1803908658162241</c:v>
                </c:pt>
                <c:pt idx="1782">
                  <c:v>2.1622567210643937</c:v>
                </c:pt>
                <c:pt idx="1783">
                  <c:v>2.1402749079905004</c:v>
                </c:pt>
                <c:pt idx="1784">
                  <c:v>2.0793514564254982</c:v>
                </c:pt>
                <c:pt idx="1785">
                  <c:v>2.077097825629004</c:v>
                </c:pt>
                <c:pt idx="1786">
                  <c:v>2.0995046239212902</c:v>
                </c:pt>
                <c:pt idx="1787">
                  <c:v>2.0485503237322273</c:v>
                </c:pt>
                <c:pt idx="1788">
                  <c:v>2.0542393737350118</c:v>
                </c:pt>
                <c:pt idx="1789">
                  <c:v>2.025873342790915</c:v>
                </c:pt>
                <c:pt idx="1790">
                  <c:v>1.9005138051900912</c:v>
                </c:pt>
                <c:pt idx="1791">
                  <c:v>1.9460822477001904</c:v>
                </c:pt>
                <c:pt idx="1792">
                  <c:v>1.8832382569748165</c:v>
                </c:pt>
                <c:pt idx="1793">
                  <c:v>1.9163233110401272</c:v>
                </c:pt>
                <c:pt idx="1794">
                  <c:v>1.9153898783819765</c:v>
                </c:pt>
                <c:pt idx="1795">
                  <c:v>1.8869582381487799</c:v>
                </c:pt>
                <c:pt idx="1796">
                  <c:v>1.887277134570142</c:v>
                </c:pt>
                <c:pt idx="1797">
                  <c:v>1.8955882402315227</c:v>
                </c:pt>
                <c:pt idx="1798">
                  <c:v>1.8096548829385846</c:v>
                </c:pt>
                <c:pt idx="1799">
                  <c:v>1.7778212397305913</c:v>
                </c:pt>
                <c:pt idx="1800">
                  <c:v>1.7937555716762952</c:v>
                </c:pt>
                <c:pt idx="1801">
                  <c:v>1.7270389305165563</c:v>
                </c:pt>
                <c:pt idx="1802">
                  <c:v>1.7017080195941203</c:v>
                </c:pt>
                <c:pt idx="1803">
                  <c:v>1.8380811340630632</c:v>
                </c:pt>
                <c:pt idx="1804">
                  <c:v>1.8588218573161572</c:v>
                </c:pt>
                <c:pt idx="1805">
                  <c:v>1.8700505693127865</c:v>
                </c:pt>
                <c:pt idx="1806">
                  <c:v>1.8563679159879543</c:v>
                </c:pt>
                <c:pt idx="1807">
                  <c:v>1.9353105227623786</c:v>
                </c:pt>
                <c:pt idx="1808">
                  <c:v>1.9469715721280672</c:v>
                </c:pt>
                <c:pt idx="1809">
                  <c:v>1.9616174770524029</c:v>
                </c:pt>
                <c:pt idx="1810">
                  <c:v>2.0401046142999211</c:v>
                </c:pt>
                <c:pt idx="1811">
                  <c:v>2.0535022741156808</c:v>
                </c:pt>
                <c:pt idx="1812">
                  <c:v>2.1085041486695957</c:v>
                </c:pt>
                <c:pt idx="1813">
                  <c:v>2.0385505293978361</c:v>
                </c:pt>
                <c:pt idx="1814">
                  <c:v>2.083379702674232</c:v>
                </c:pt>
                <c:pt idx="1815">
                  <c:v>2.0721887108795967</c:v>
                </c:pt>
                <c:pt idx="1816">
                  <c:v>2.127608064403109</c:v>
                </c:pt>
                <c:pt idx="1817">
                  <c:v>2.0960272264897806</c:v>
                </c:pt>
                <c:pt idx="1818">
                  <c:v>2.2052126349821144</c:v>
                </c:pt>
                <c:pt idx="1819">
                  <c:v>2.256418513711457</c:v>
                </c:pt>
                <c:pt idx="1820">
                  <c:v>2.2545601172543726</c:v>
                </c:pt>
                <c:pt idx="1821">
                  <c:v>2.2554048751397673</c:v>
                </c:pt>
                <c:pt idx="1822">
                  <c:v>2.2401431953316089</c:v>
                </c:pt>
                <c:pt idx="1823">
                  <c:v>2.2340846218471628</c:v>
                </c:pt>
                <c:pt idx="1824">
                  <c:v>2.2770522289318635</c:v>
                </c:pt>
                <c:pt idx="1825">
                  <c:v>2.2719646814441621</c:v>
                </c:pt>
                <c:pt idx="1826">
                  <c:v>2.2378237133446115</c:v>
                </c:pt>
                <c:pt idx="1827">
                  <c:v>2.2346565419503848</c:v>
                </c:pt>
                <c:pt idx="1828">
                  <c:v>2.3081935741522148</c:v>
                </c:pt>
                <c:pt idx="1829">
                  <c:v>2.3574879050441755</c:v>
                </c:pt>
                <c:pt idx="1830">
                  <c:v>2.3935915210576759</c:v>
                </c:pt>
                <c:pt idx="1831">
                  <c:v>2.3364233896607911</c:v>
                </c:pt>
                <c:pt idx="1832">
                  <c:v>2.3986531663315276</c:v>
                </c:pt>
                <c:pt idx="1833">
                  <c:v>2.3742597568612291</c:v>
                </c:pt>
                <c:pt idx="1834">
                  <c:v>2.3177950341465894</c:v>
                </c:pt>
                <c:pt idx="1835">
                  <c:v>2.2793667241779674</c:v>
                </c:pt>
                <c:pt idx="1836">
                  <c:v>2.288141355917138</c:v>
                </c:pt>
                <c:pt idx="1837">
                  <c:v>2.3041299530380193</c:v>
                </c:pt>
                <c:pt idx="1838">
                  <c:v>2.2053767214705915</c:v>
                </c:pt>
                <c:pt idx="1839">
                  <c:v>2.2493787169135042</c:v>
                </c:pt>
                <c:pt idx="1840">
                  <c:v>2.280063545521585</c:v>
                </c:pt>
                <c:pt idx="1841">
                  <c:v>2.2377554101708022</c:v>
                </c:pt>
                <c:pt idx="1842">
                  <c:v>2.233782296165657</c:v>
                </c:pt>
                <c:pt idx="1843">
                  <c:v>2.1894785690922749</c:v>
                </c:pt>
                <c:pt idx="1844">
                  <c:v>2.1884896372576814</c:v>
                </c:pt>
                <c:pt idx="1845">
                  <c:v>2.1514960416592444</c:v>
                </c:pt>
                <c:pt idx="1846">
                  <c:v>2.2347079200952633</c:v>
                </c:pt>
                <c:pt idx="1847">
                  <c:v>2.2446139212698735</c:v>
                </c:pt>
                <c:pt idx="1848">
                  <c:v>2.3115529396494292</c:v>
                </c:pt>
                <c:pt idx="1849">
                  <c:v>2.1725114311371883</c:v>
                </c:pt>
                <c:pt idx="1850">
                  <c:v>2.131784572889408</c:v>
                </c:pt>
                <c:pt idx="1851">
                  <c:v>2.1509525788256059</c:v>
                </c:pt>
                <c:pt idx="1852">
                  <c:v>2.0835223339133555</c:v>
                </c:pt>
                <c:pt idx="1853">
                  <c:v>2.0069108362342187</c:v>
                </c:pt>
                <c:pt idx="1854">
                  <c:v>2.0074371629985186</c:v>
                </c:pt>
                <c:pt idx="1855">
                  <c:v>1.9744469082807667</c:v>
                </c:pt>
                <c:pt idx="1856">
                  <c:v>2.0142247187077023</c:v>
                </c:pt>
                <c:pt idx="1857">
                  <c:v>2.1155251233647179</c:v>
                </c:pt>
                <c:pt idx="1858">
                  <c:v>2.125110396450733</c:v>
                </c:pt>
                <c:pt idx="1859">
                  <c:v>2.1109093182386376</c:v>
                </c:pt>
                <c:pt idx="1860">
                  <c:v>2.0528521815867493</c:v>
                </c:pt>
                <c:pt idx="1861">
                  <c:v>1.9956447736856424</c:v>
                </c:pt>
                <c:pt idx="1862">
                  <c:v>2.0503891384188644</c:v>
                </c:pt>
                <c:pt idx="1863">
                  <c:v>2.09506680000234</c:v>
                </c:pt>
                <c:pt idx="1864">
                  <c:v>2.1001749725043708</c:v>
                </c:pt>
                <c:pt idx="1865">
                  <c:v>2.0493840825346448</c:v>
                </c:pt>
                <c:pt idx="1866">
                  <c:v>2.0392184290304511</c:v>
                </c:pt>
                <c:pt idx="1867">
                  <c:v>2.0693027909661379</c:v>
                </c:pt>
                <c:pt idx="1868">
                  <c:v>2.1143608949597246</c:v>
                </c:pt>
                <c:pt idx="1869">
                  <c:v>2.132076520393174</c:v>
                </c:pt>
                <c:pt idx="1870">
                  <c:v>2.0579773929683705</c:v>
                </c:pt>
                <c:pt idx="1871">
                  <c:v>1.9723697033041336</c:v>
                </c:pt>
                <c:pt idx="1872">
                  <c:v>1.9747817367165066</c:v>
                </c:pt>
                <c:pt idx="1873">
                  <c:v>2.0052914981899885</c:v>
                </c:pt>
                <c:pt idx="1874">
                  <c:v>2.0070944995747073</c:v>
                </c:pt>
                <c:pt idx="1875">
                  <c:v>2.0354021260250281</c:v>
                </c:pt>
                <c:pt idx="1876">
                  <c:v>2.0581506272052885</c:v>
                </c:pt>
                <c:pt idx="1877">
                  <c:v>2.0033365929532208</c:v>
                </c:pt>
                <c:pt idx="1878">
                  <c:v>2.0016628651048731</c:v>
                </c:pt>
                <c:pt idx="1879">
                  <c:v>1.8737889539615353</c:v>
                </c:pt>
                <c:pt idx="1880">
                  <c:v>1.9183279769011587</c:v>
                </c:pt>
                <c:pt idx="1881">
                  <c:v>1.934427597671162</c:v>
                </c:pt>
                <c:pt idx="1882">
                  <c:v>1.9534661140404608</c:v>
                </c:pt>
                <c:pt idx="1883">
                  <c:v>1.9643943361685812</c:v>
                </c:pt>
                <c:pt idx="1884">
                  <c:v>1.9668110898928064</c:v>
                </c:pt>
                <c:pt idx="1885">
                  <c:v>1.9654732366502123</c:v>
                </c:pt>
                <c:pt idx="1886">
                  <c:v>2.017878677047515</c:v>
                </c:pt>
                <c:pt idx="1887">
                  <c:v>1.9529585501365596</c:v>
                </c:pt>
                <c:pt idx="1888">
                  <c:v>1.9544959415402212</c:v>
                </c:pt>
                <c:pt idx="1889">
                  <c:v>1.9833781873448553</c:v>
                </c:pt>
                <c:pt idx="1890">
                  <c:v>1.9661514973813521</c:v>
                </c:pt>
                <c:pt idx="1891">
                  <c:v>1.9282512870110493</c:v>
                </c:pt>
                <c:pt idx="1892">
                  <c:v>1.9432920258230095</c:v>
                </c:pt>
                <c:pt idx="1893">
                  <c:v>1.9332151696607698</c:v>
                </c:pt>
                <c:pt idx="1894">
                  <c:v>1.925728184647195</c:v>
                </c:pt>
                <c:pt idx="1895">
                  <c:v>2.0901827120281657</c:v>
                </c:pt>
                <c:pt idx="1896">
                  <c:v>2.0788985661163157</c:v>
                </c:pt>
                <c:pt idx="1897">
                  <c:v>2.079709390522368</c:v>
                </c:pt>
                <c:pt idx="1898">
                  <c:v>1.9864372619455164</c:v>
                </c:pt>
                <c:pt idx="1899">
                  <c:v>2.113245646519692</c:v>
                </c:pt>
                <c:pt idx="1900">
                  <c:v>2.116806260882687</c:v>
                </c:pt>
                <c:pt idx="1901">
                  <c:v>2.1601096634451094</c:v>
                </c:pt>
                <c:pt idx="1902">
                  <c:v>2.1731329249086335</c:v>
                </c:pt>
                <c:pt idx="1903">
                  <c:v>2.1806893462985459</c:v>
                </c:pt>
                <c:pt idx="1904">
                  <c:v>2.153420603785924</c:v>
                </c:pt>
                <c:pt idx="1905">
                  <c:v>2.2859438193264614</c:v>
                </c:pt>
                <c:pt idx="1906">
                  <c:v>2.221537131873935</c:v>
                </c:pt>
                <c:pt idx="1907">
                  <c:v>2.2255410508427023</c:v>
                </c:pt>
                <c:pt idx="1908">
                  <c:v>2.3128051039117716</c:v>
                </c:pt>
                <c:pt idx="1909">
                  <c:v>2.33230851801253</c:v>
                </c:pt>
                <c:pt idx="1910">
                  <c:v>2.3789976808190807</c:v>
                </c:pt>
                <c:pt idx="1911">
                  <c:v>2.3446087269829516</c:v>
                </c:pt>
                <c:pt idx="1912">
                  <c:v>2.2667372872569564</c:v>
                </c:pt>
                <c:pt idx="1913">
                  <c:v>2.1590615113499974</c:v>
                </c:pt>
                <c:pt idx="1914">
                  <c:v>2.0921193318441236</c:v>
                </c:pt>
                <c:pt idx="1915">
                  <c:v>1.9352144603514974</c:v>
                </c:pt>
                <c:pt idx="1916">
                  <c:v>1.9299288213525962</c:v>
                </c:pt>
                <c:pt idx="1917">
                  <c:v>1.6052869639286105</c:v>
                </c:pt>
                <c:pt idx="1918">
                  <c:v>1.652282082232857</c:v>
                </c:pt>
                <c:pt idx="1919">
                  <c:v>1.6630798336259789</c:v>
                </c:pt>
                <c:pt idx="1920">
                  <c:v>1.6664666724403965</c:v>
                </c:pt>
                <c:pt idx="1921">
                  <c:v>1.6289317493121607</c:v>
                </c:pt>
                <c:pt idx="1922">
                  <c:v>1.6419552558205619</c:v>
                </c:pt>
                <c:pt idx="1923">
                  <c:v>1.6740470376916408</c:v>
                </c:pt>
                <c:pt idx="1924">
                  <c:v>1.7420341609342518</c:v>
                </c:pt>
                <c:pt idx="1925">
                  <c:v>1.7493523194952112</c:v>
                </c:pt>
                <c:pt idx="1926">
                  <c:v>1.7111430868933728</c:v>
                </c:pt>
                <c:pt idx="1927">
                  <c:v>1.6794147842612641</c:v>
                </c:pt>
                <c:pt idx="1928">
                  <c:v>1.6395589526000343</c:v>
                </c:pt>
                <c:pt idx="1929">
                  <c:v>1.6655176346649947</c:v>
                </c:pt>
                <c:pt idx="1930">
                  <c:v>1.7141666688807367</c:v>
                </c:pt>
                <c:pt idx="1931">
                  <c:v>1.8060555544550705</c:v>
                </c:pt>
                <c:pt idx="1932">
                  <c:v>1.9457918053013508</c:v>
                </c:pt>
                <c:pt idx="1933">
                  <c:v>1.9457918053013501</c:v>
                </c:pt>
                <c:pt idx="1934">
                  <c:v>2.256347622670408</c:v>
                </c:pt>
                <c:pt idx="1935">
                  <c:v>2.2312827229044019</c:v>
                </c:pt>
                <c:pt idx="1936">
                  <c:v>2.2366560776454958</c:v>
                </c:pt>
                <c:pt idx="1937">
                  <c:v>2.368896470483651</c:v>
                </c:pt>
                <c:pt idx="1938">
                  <c:v>2.5198906229128393</c:v>
                </c:pt>
                <c:pt idx="1939">
                  <c:v>2.5231208467747095</c:v>
                </c:pt>
                <c:pt idx="1940">
                  <c:v>2.549004925180268</c:v>
                </c:pt>
                <c:pt idx="1941">
                  <c:v>2.4980508530684737</c:v>
                </c:pt>
                <c:pt idx="1942">
                  <c:v>2.4401117927635378</c:v>
                </c:pt>
                <c:pt idx="1943">
                  <c:v>2.5273099992328838</c:v>
                </c:pt>
                <c:pt idx="1944">
                  <c:v>2.5297588986523172</c:v>
                </c:pt>
                <c:pt idx="1945">
                  <c:v>2.5195472546541144</c:v>
                </c:pt>
                <c:pt idx="1946">
                  <c:v>2.5208818115832416</c:v>
                </c:pt>
                <c:pt idx="1947">
                  <c:v>2.5269883170839456</c:v>
                </c:pt>
                <c:pt idx="1948">
                  <c:v>2.6339056192247545</c:v>
                </c:pt>
                <c:pt idx="1949">
                  <c:v>2.6028186431948805</c:v>
                </c:pt>
                <c:pt idx="1950">
                  <c:v>2.6351995272608795</c:v>
                </c:pt>
                <c:pt idx="1951">
                  <c:v>2.5704390378032711</c:v>
                </c:pt>
                <c:pt idx="1952">
                  <c:v>2.4557745013162759</c:v>
                </c:pt>
                <c:pt idx="1953">
                  <c:v>2.5228824642057592</c:v>
                </c:pt>
                <c:pt idx="1954">
                  <c:v>2.4077671347772083</c:v>
                </c:pt>
                <c:pt idx="1955">
                  <c:v>2.4543881778655052</c:v>
                </c:pt>
                <c:pt idx="1956">
                  <c:v>2.4305512728419862</c:v>
                </c:pt>
                <c:pt idx="1957">
                  <c:v>2.4031554540107205</c:v>
                </c:pt>
                <c:pt idx="1958">
                  <c:v>2.2787866828889767</c:v>
                </c:pt>
                <c:pt idx="1959">
                  <c:v>2.1579319727472193</c:v>
                </c:pt>
                <c:pt idx="1960">
                  <c:v>2.1870967427368422</c:v>
                </c:pt>
                <c:pt idx="1961">
                  <c:v>2.2268968102978102</c:v>
                </c:pt>
                <c:pt idx="1962">
                  <c:v>2.2685280463382007</c:v>
                </c:pt>
                <c:pt idx="1963">
                  <c:v>2.2621707519885801</c:v>
                </c:pt>
                <c:pt idx="1964">
                  <c:v>2.2246053810896234</c:v>
                </c:pt>
                <c:pt idx="1965">
                  <c:v>2.2274030723724372</c:v>
                </c:pt>
                <c:pt idx="1966">
                  <c:v>2.2203657341982419</c:v>
                </c:pt>
                <c:pt idx="1967">
                  <c:v>2.2693596163929275</c:v>
                </c:pt>
                <c:pt idx="1968">
                  <c:v>2.3228802940682303</c:v>
                </c:pt>
                <c:pt idx="1969">
                  <c:v>2.2833023957127274</c:v>
                </c:pt>
                <c:pt idx="1970">
                  <c:v>2.2780005295241295</c:v>
                </c:pt>
                <c:pt idx="1971">
                  <c:v>2.3361117885187781</c:v>
                </c:pt>
                <c:pt idx="1972">
                  <c:v>2.3652012264775886</c:v>
                </c:pt>
                <c:pt idx="1973">
                  <c:v>2.3360758786852034</c:v>
                </c:pt>
                <c:pt idx="1974">
                  <c:v>2.2730905672491932</c:v>
                </c:pt>
                <c:pt idx="1975">
                  <c:v>2.2960930656690399</c:v>
                </c:pt>
                <c:pt idx="1976">
                  <c:v>2.296263196799782</c:v>
                </c:pt>
                <c:pt idx="1977">
                  <c:v>2.2874114092792315</c:v>
                </c:pt>
                <c:pt idx="1978">
                  <c:v>2.2487308742363141</c:v>
                </c:pt>
                <c:pt idx="1979">
                  <c:v>2.2132139937998234</c:v>
                </c:pt>
                <c:pt idx="1980">
                  <c:v>2.1611390501619483</c:v>
                </c:pt>
                <c:pt idx="1981">
                  <c:v>2.0623771355006357</c:v>
                </c:pt>
                <c:pt idx="1982">
                  <c:v>2.0581470003168754</c:v>
                </c:pt>
                <c:pt idx="1983">
                  <c:v>2.0268472654289202</c:v>
                </c:pt>
                <c:pt idx="1984">
                  <c:v>2.0721300437793184</c:v>
                </c:pt>
                <c:pt idx="1985">
                  <c:v>2.0772306208848335</c:v>
                </c:pt>
                <c:pt idx="1986">
                  <c:v>2.0203806502974442</c:v>
                </c:pt>
                <c:pt idx="1987">
                  <c:v>2.0342168547213308</c:v>
                </c:pt>
                <c:pt idx="1988">
                  <c:v>1.9879906031543013</c:v>
                </c:pt>
                <c:pt idx="1989">
                  <c:v>2.0084619707966826</c:v>
                </c:pt>
                <c:pt idx="1990">
                  <c:v>2.0010323470901525</c:v>
                </c:pt>
                <c:pt idx="1991">
                  <c:v>1.9830014314102307</c:v>
                </c:pt>
                <c:pt idx="1992">
                  <c:v>2.0049241789401089</c:v>
                </c:pt>
                <c:pt idx="1993">
                  <c:v>2.0456119413755629</c:v>
                </c:pt>
                <c:pt idx="1994">
                  <c:v>2.0573404633847745</c:v>
                </c:pt>
                <c:pt idx="1995">
                  <c:v>2.0585640505977025</c:v>
                </c:pt>
                <c:pt idx="1996">
                  <c:v>2.0486079309648417</c:v>
                </c:pt>
                <c:pt idx="1997">
                  <c:v>1.9891980578058854</c:v>
                </c:pt>
                <c:pt idx="1998">
                  <c:v>1.9810017420216539</c:v>
                </c:pt>
                <c:pt idx="1999">
                  <c:v>1.8677065440872305</c:v>
                </c:pt>
                <c:pt idx="2000">
                  <c:v>1.8877296753276851</c:v>
                </c:pt>
                <c:pt idx="2001">
                  <c:v>1.9084383747256017</c:v>
                </c:pt>
                <c:pt idx="2002">
                  <c:v>1.8905009334662051</c:v>
                </c:pt>
                <c:pt idx="2003">
                  <c:v>1.9992030759209722</c:v>
                </c:pt>
                <c:pt idx="2004">
                  <c:v>1.9644200311615518</c:v>
                </c:pt>
                <c:pt idx="2005">
                  <c:v>1.9752932305516333</c:v>
                </c:pt>
                <c:pt idx="2006">
                  <c:v>1.9464995685883226</c:v>
                </c:pt>
                <c:pt idx="2007">
                  <c:v>1.9691851654789634</c:v>
                </c:pt>
                <c:pt idx="2008">
                  <c:v>1.9860431884609302</c:v>
                </c:pt>
                <c:pt idx="2009">
                  <c:v>1.9853719023616017</c:v>
                </c:pt>
                <c:pt idx="2010">
                  <c:v>1.9622488852886577</c:v>
                </c:pt>
                <c:pt idx="2011">
                  <c:v>2.0174213251043684</c:v>
                </c:pt>
                <c:pt idx="2012">
                  <c:v>2.0178587713588652</c:v>
                </c:pt>
                <c:pt idx="2013">
                  <c:v>2.0361621880528475</c:v>
                </c:pt>
                <c:pt idx="2014">
                  <c:v>2.0555426260298209</c:v>
                </c:pt>
                <c:pt idx="2015">
                  <c:v>1.9222524481353611</c:v>
                </c:pt>
                <c:pt idx="2016">
                  <c:v>1.9328271644857236</c:v>
                </c:pt>
                <c:pt idx="2017">
                  <c:v>1.9649461617672663</c:v>
                </c:pt>
                <c:pt idx="2018">
                  <c:v>1.9656822910326324</c:v>
                </c:pt>
                <c:pt idx="2019">
                  <c:v>1.8543514743394205</c:v>
                </c:pt>
                <c:pt idx="2020">
                  <c:v>1.8135199275666931</c:v>
                </c:pt>
                <c:pt idx="2021">
                  <c:v>1.94348682245569</c:v>
                </c:pt>
                <c:pt idx="2022">
                  <c:v>1.874463411474385</c:v>
                </c:pt>
                <c:pt idx="2023">
                  <c:v>1.9010559395345239</c:v>
                </c:pt>
                <c:pt idx="2024">
                  <c:v>1.933526436943716</c:v>
                </c:pt>
                <c:pt idx="2025">
                  <c:v>1.9240251876667698</c:v>
                </c:pt>
                <c:pt idx="2026">
                  <c:v>1.915431819322829</c:v>
                </c:pt>
                <c:pt idx="2027">
                  <c:v>1.856609358901695</c:v>
                </c:pt>
                <c:pt idx="2028">
                  <c:v>1.9047450418824219</c:v>
                </c:pt>
                <c:pt idx="2029">
                  <c:v>1.8864099795270715</c:v>
                </c:pt>
                <c:pt idx="2030">
                  <c:v>1.9960941154575225</c:v>
                </c:pt>
                <c:pt idx="2031">
                  <c:v>1.9900064907208639</c:v>
                </c:pt>
                <c:pt idx="2032">
                  <c:v>1.9692371521336982</c:v>
                </c:pt>
                <c:pt idx="2033">
                  <c:v>1.9497908023963466</c:v>
                </c:pt>
                <c:pt idx="2034">
                  <c:v>1.8662182244342018</c:v>
                </c:pt>
                <c:pt idx="2035">
                  <c:v>1.8442419777261763</c:v>
                </c:pt>
                <c:pt idx="2036">
                  <c:v>1.9210728585227055</c:v>
                </c:pt>
                <c:pt idx="2037">
                  <c:v>2.0411441930914687</c:v>
                </c:pt>
                <c:pt idx="2038">
                  <c:v>2.0550516249467128</c:v>
                </c:pt>
                <c:pt idx="2039">
                  <c:v>2.0464474184170633</c:v>
                </c:pt>
                <c:pt idx="2040">
                  <c:v>2.0783171353264538</c:v>
                </c:pt>
                <c:pt idx="2041">
                  <c:v>2.0801325416281156</c:v>
                </c:pt>
                <c:pt idx="2042">
                  <c:v>2.0310078291132911</c:v>
                </c:pt>
                <c:pt idx="2043">
                  <c:v>2.0814472471938341</c:v>
                </c:pt>
                <c:pt idx="2044">
                  <c:v>2.1364880477906816</c:v>
                </c:pt>
                <c:pt idx="2045">
                  <c:v>2.1332552416170061</c:v>
                </c:pt>
                <c:pt idx="2046">
                  <c:v>2.134861933471214</c:v>
                </c:pt>
                <c:pt idx="2047">
                  <c:v>2.1680535178271776</c:v>
                </c:pt>
                <c:pt idx="2048">
                  <c:v>2.1895191560928073</c:v>
                </c:pt>
                <c:pt idx="2049">
                  <c:v>2.2113234678819467</c:v>
                </c:pt>
                <c:pt idx="2050">
                  <c:v>2.2810849261734845</c:v>
                </c:pt>
                <c:pt idx="2051">
                  <c:v>2.278751741565757</c:v>
                </c:pt>
                <c:pt idx="2052">
                  <c:v>2.2639203753882176</c:v>
                </c:pt>
                <c:pt idx="2053">
                  <c:v>2.2727111631882631</c:v>
                </c:pt>
                <c:pt idx="2054">
                  <c:v>2.3230974276221117</c:v>
                </c:pt>
                <c:pt idx="2055">
                  <c:v>2.3146044503680439</c:v>
                </c:pt>
                <c:pt idx="2056">
                  <c:v>2.3155109678834802</c:v>
                </c:pt>
                <c:pt idx="2057">
                  <c:v>2.3257161216578117</c:v>
                </c:pt>
                <c:pt idx="2058">
                  <c:v>2.3270316957295369</c:v>
                </c:pt>
                <c:pt idx="2059">
                  <c:v>2.2378472218617174</c:v>
                </c:pt>
                <c:pt idx="2060">
                  <c:v>2.2401814363304879</c:v>
                </c:pt>
                <c:pt idx="2061">
                  <c:v>2.2728473868552972</c:v>
                </c:pt>
                <c:pt idx="2062">
                  <c:v>2.2553413598448513</c:v>
                </c:pt>
                <c:pt idx="2063">
                  <c:v>2.2569362658470493</c:v>
                </c:pt>
                <c:pt idx="2064">
                  <c:v>2.3045163698539297</c:v>
                </c:pt>
                <c:pt idx="2065">
                  <c:v>2.3064269853064334</c:v>
                </c:pt>
                <c:pt idx="2066">
                  <c:v>2.3069698773731493</c:v>
                </c:pt>
                <c:pt idx="2067">
                  <c:v>2.159939340426785</c:v>
                </c:pt>
                <c:pt idx="2068">
                  <c:v>2.1461123633247374</c:v>
                </c:pt>
                <c:pt idx="2069">
                  <c:v>2.1843278169921447</c:v>
                </c:pt>
                <c:pt idx="2070">
                  <c:v>2.2105131610293527</c:v>
                </c:pt>
                <c:pt idx="2071">
                  <c:v>2.2720973516090468</c:v>
                </c:pt>
                <c:pt idx="2072">
                  <c:v>2.2819854440532836</c:v>
                </c:pt>
                <c:pt idx="2073">
                  <c:v>2.2870323604365943</c:v>
                </c:pt>
                <c:pt idx="2074">
                  <c:v>2.2891457782775646</c:v>
                </c:pt>
                <c:pt idx="2075">
                  <c:v>2.1536866769145839</c:v>
                </c:pt>
                <c:pt idx="2076">
                  <c:v>2.0470328655960457</c:v>
                </c:pt>
                <c:pt idx="2077">
                  <c:v>2.0940292075864613</c:v>
                </c:pt>
                <c:pt idx="2078">
                  <c:v>2.0028872787419445</c:v>
                </c:pt>
                <c:pt idx="2079">
                  <c:v>1.981066158088324</c:v>
                </c:pt>
                <c:pt idx="2080">
                  <c:v>2.0221738893968793</c:v>
                </c:pt>
                <c:pt idx="2081">
                  <c:v>2.0179304661492807</c:v>
                </c:pt>
                <c:pt idx="2082">
                  <c:v>2.0437065627695161</c:v>
                </c:pt>
                <c:pt idx="2083">
                  <c:v>2.1236134989864337</c:v>
                </c:pt>
                <c:pt idx="2084">
                  <c:v>2.1060255136073658</c:v>
                </c:pt>
                <c:pt idx="2085">
                  <c:v>2.1432037500082886</c:v>
                </c:pt>
                <c:pt idx="2086">
                  <c:v>2.1373443808612982</c:v>
                </c:pt>
                <c:pt idx="2087">
                  <c:v>2.1371537816272492</c:v>
                </c:pt>
                <c:pt idx="2088">
                  <c:v>2.1321347050377835</c:v>
                </c:pt>
                <c:pt idx="2089">
                  <c:v>2.1547541051614516</c:v>
                </c:pt>
                <c:pt idx="2090">
                  <c:v>2.190825817848554</c:v>
                </c:pt>
                <c:pt idx="2091">
                  <c:v>2.226452379497343</c:v>
                </c:pt>
                <c:pt idx="2092">
                  <c:v>2.158669475770937</c:v>
                </c:pt>
                <c:pt idx="2093">
                  <c:v>2.121617668256607</c:v>
                </c:pt>
                <c:pt idx="2094">
                  <c:v>2.1202762353797637</c:v>
                </c:pt>
                <c:pt idx="2095">
                  <c:v>2.0605153795238764</c:v>
                </c:pt>
                <c:pt idx="2096">
                  <c:v>2.0991248340369202</c:v>
                </c:pt>
                <c:pt idx="2097">
                  <c:v>2.0831831421913125</c:v>
                </c:pt>
                <c:pt idx="2098">
                  <c:v>2.2016509804917925</c:v>
                </c:pt>
                <c:pt idx="2099">
                  <c:v>2.2004216653174939</c:v>
                </c:pt>
                <c:pt idx="2100">
                  <c:v>2.1269450249298938</c:v>
                </c:pt>
                <c:pt idx="2101">
                  <c:v>2.1177199014717427</c:v>
                </c:pt>
                <c:pt idx="2102">
                  <c:v>2.03337373017402</c:v>
                </c:pt>
                <c:pt idx="2103">
                  <c:v>2.0473533925481684</c:v>
                </c:pt>
                <c:pt idx="2104">
                  <c:v>2.0279011777465312</c:v>
                </c:pt>
                <c:pt idx="2105">
                  <c:v>2.0192795091493356</c:v>
                </c:pt>
                <c:pt idx="2106">
                  <c:v>2.0231158588598466</c:v>
                </c:pt>
                <c:pt idx="2107">
                  <c:v>2.06634007561573</c:v>
                </c:pt>
                <c:pt idx="2108">
                  <c:v>2.0352917511302815</c:v>
                </c:pt>
                <c:pt idx="2109">
                  <c:v>1.9807578750394492</c:v>
                </c:pt>
                <c:pt idx="2110">
                  <c:v>1.9262512278429251</c:v>
                </c:pt>
                <c:pt idx="2111">
                  <c:v>1.9168930547587191</c:v>
                </c:pt>
                <c:pt idx="2112">
                  <c:v>1.8341192017547416</c:v>
                </c:pt>
                <c:pt idx="2113">
                  <c:v>1.8803655596384306</c:v>
                </c:pt>
                <c:pt idx="2114">
                  <c:v>1.8718685690846819</c:v>
                </c:pt>
                <c:pt idx="2115">
                  <c:v>1.9763557496643458</c:v>
                </c:pt>
                <c:pt idx="2116">
                  <c:v>1.924699216876899</c:v>
                </c:pt>
                <c:pt idx="2117">
                  <c:v>1.9571761150520246</c:v>
                </c:pt>
                <c:pt idx="2118">
                  <c:v>1.97418242568637</c:v>
                </c:pt>
                <c:pt idx="2119">
                  <c:v>1.9574746742496574</c:v>
                </c:pt>
                <c:pt idx="2120">
                  <c:v>1.9240052347253864</c:v>
                </c:pt>
                <c:pt idx="2121">
                  <c:v>1.8179559977066122</c:v>
                </c:pt>
                <c:pt idx="2122">
                  <c:v>1.7906198316499988</c:v>
                </c:pt>
                <c:pt idx="2123">
                  <c:v>1.8512528991796005</c:v>
                </c:pt>
                <c:pt idx="2124">
                  <c:v>1.8661791774361531</c:v>
                </c:pt>
                <c:pt idx="2125">
                  <c:v>1.8739096002963016</c:v>
                </c:pt>
                <c:pt idx="2126">
                  <c:v>1.9577319724976898</c:v>
                </c:pt>
                <c:pt idx="2127">
                  <c:v>1.8973047714835984</c:v>
                </c:pt>
                <c:pt idx="2128">
                  <c:v>1.9337904141039335</c:v>
                </c:pt>
                <c:pt idx="2129">
                  <c:v>1.8571197129872297</c:v>
                </c:pt>
                <c:pt idx="2130">
                  <c:v>1.8375150034963776</c:v>
                </c:pt>
                <c:pt idx="2131">
                  <c:v>1.861655242442414</c:v>
                </c:pt>
                <c:pt idx="2132">
                  <c:v>1.8792752497493888</c:v>
                </c:pt>
                <c:pt idx="2133">
                  <c:v>1.8580296177000515</c:v>
                </c:pt>
                <c:pt idx="2134">
                  <c:v>1.8373076171920557</c:v>
                </c:pt>
                <c:pt idx="2135">
                  <c:v>1.8425747867702351</c:v>
                </c:pt>
                <c:pt idx="2136">
                  <c:v>1.8864989175248548</c:v>
                </c:pt>
                <c:pt idx="2137">
                  <c:v>1.9135209040056631</c:v>
                </c:pt>
                <c:pt idx="2138">
                  <c:v>1.8674103836389098</c:v>
                </c:pt>
                <c:pt idx="2139">
                  <c:v>1.9125493042992729</c:v>
                </c:pt>
                <c:pt idx="2140">
                  <c:v>1.9536919184778345</c:v>
                </c:pt>
                <c:pt idx="2141">
                  <c:v>2.0246872334554133</c:v>
                </c:pt>
                <c:pt idx="2142">
                  <c:v>1.9780681426138875</c:v>
                </c:pt>
                <c:pt idx="2143">
                  <c:v>2.0485664608613243</c:v>
                </c:pt>
                <c:pt idx="2144">
                  <c:v>1.9987439404226255</c:v>
                </c:pt>
                <c:pt idx="2145">
                  <c:v>1.939652047829427</c:v>
                </c:pt>
                <c:pt idx="2146">
                  <c:v>1.8923813728437884</c:v>
                </c:pt>
                <c:pt idx="2147">
                  <c:v>1.9471512138152909</c:v>
                </c:pt>
                <c:pt idx="2148">
                  <c:v>1.9203081523500916</c:v>
                </c:pt>
                <c:pt idx="2149">
                  <c:v>1.9973897478144582</c:v>
                </c:pt>
                <c:pt idx="2150">
                  <c:v>2.0015358894220321</c:v>
                </c:pt>
                <c:pt idx="2151">
                  <c:v>1.994595915888661</c:v>
                </c:pt>
                <c:pt idx="2152">
                  <c:v>2.0327846988602536</c:v>
                </c:pt>
                <c:pt idx="2153">
                  <c:v>2.0971643437989784</c:v>
                </c:pt>
                <c:pt idx="2154">
                  <c:v>2.0778498206959122</c:v>
                </c:pt>
                <c:pt idx="2155">
                  <c:v>2.1300458985854891</c:v>
                </c:pt>
                <c:pt idx="2156">
                  <c:v>2.1310969794293011</c:v>
                </c:pt>
                <c:pt idx="2157">
                  <c:v>2.0581608170004397</c:v>
                </c:pt>
                <c:pt idx="2158">
                  <c:v>2.067070877760421</c:v>
                </c:pt>
                <c:pt idx="2159">
                  <c:v>2.0667104108108836</c:v>
                </c:pt>
                <c:pt idx="2160">
                  <c:v>2.019300104959544</c:v>
                </c:pt>
                <c:pt idx="2161">
                  <c:v>2.0542969944663261</c:v>
                </c:pt>
                <c:pt idx="2162">
                  <c:v>2.0936249946104017</c:v>
                </c:pt>
                <c:pt idx="2163">
                  <c:v>2.1486906687092664</c:v>
                </c:pt>
                <c:pt idx="2164">
                  <c:v>2.1393223828373911</c:v>
                </c:pt>
                <c:pt idx="2165">
                  <c:v>2.1601266127305472</c:v>
                </c:pt>
                <c:pt idx="2166">
                  <c:v>2.2014491563480241</c:v>
                </c:pt>
                <c:pt idx="2167">
                  <c:v>2.1905616594603372</c:v>
                </c:pt>
                <c:pt idx="2168">
                  <c:v>2.1592970936175702</c:v>
                </c:pt>
                <c:pt idx="2169">
                  <c:v>2.1502405322187834</c:v>
                </c:pt>
                <c:pt idx="2170">
                  <c:v>2.171396419363353</c:v>
                </c:pt>
                <c:pt idx="2171">
                  <c:v>2.1362511149419721</c:v>
                </c:pt>
                <c:pt idx="2172">
                  <c:v>2.0557276506057058</c:v>
                </c:pt>
                <c:pt idx="2173">
                  <c:v>2.061910518050817</c:v>
                </c:pt>
                <c:pt idx="2174">
                  <c:v>2.0450052292426939</c:v>
                </c:pt>
                <c:pt idx="2175">
                  <c:v>2.0985889814690162</c:v>
                </c:pt>
                <c:pt idx="2176">
                  <c:v>2.1469277709413124</c:v>
                </c:pt>
                <c:pt idx="2177">
                  <c:v>2.1616679480859053</c:v>
                </c:pt>
                <c:pt idx="2178">
                  <c:v>2.0789337887571313</c:v>
                </c:pt>
                <c:pt idx="2179">
                  <c:v>2.0609767937443202</c:v>
                </c:pt>
                <c:pt idx="2180">
                  <c:v>2.0105991251581097</c:v>
                </c:pt>
                <c:pt idx="2181">
                  <c:v>2.0896062922448708</c:v>
                </c:pt>
                <c:pt idx="2182">
                  <c:v>2.1954665974180894</c:v>
                </c:pt>
                <c:pt idx="2183">
                  <c:v>2.1913952401904195</c:v>
                </c:pt>
                <c:pt idx="2184">
                  <c:v>2.1757171132526354</c:v>
                </c:pt>
                <c:pt idx="2185">
                  <c:v>2.2145323567405648</c:v>
                </c:pt>
                <c:pt idx="2186">
                  <c:v>2.1425277848388671</c:v>
                </c:pt>
                <c:pt idx="2187">
                  <c:v>2.1401503429957258</c:v>
                </c:pt>
                <c:pt idx="2188">
                  <c:v>2.1860060817691425</c:v>
                </c:pt>
                <c:pt idx="2189">
                  <c:v>2.285037861216471</c:v>
                </c:pt>
                <c:pt idx="2190">
                  <c:v>2.2822173711178904</c:v>
                </c:pt>
                <c:pt idx="2191">
                  <c:v>2.2713874447566154</c:v>
                </c:pt>
                <c:pt idx="2192">
                  <c:v>2.2919765081413574</c:v>
                </c:pt>
                <c:pt idx="2193">
                  <c:v>2.2926650007085834</c:v>
                </c:pt>
                <c:pt idx="2194">
                  <c:v>2.263194239329402</c:v>
                </c:pt>
                <c:pt idx="2195">
                  <c:v>2.2868354291691122</c:v>
                </c:pt>
                <c:pt idx="2196">
                  <c:v>2.2718144794544539</c:v>
                </c:pt>
                <c:pt idx="2197">
                  <c:v>2.2541317061146864</c:v>
                </c:pt>
                <c:pt idx="2198">
                  <c:v>2.1825407731422799</c:v>
                </c:pt>
                <c:pt idx="2199">
                  <c:v>2.1862216885492547</c:v>
                </c:pt>
                <c:pt idx="2200">
                  <c:v>2.2239757351951233</c:v>
                </c:pt>
                <c:pt idx="2201">
                  <c:v>2.2384000773425687</c:v>
                </c:pt>
                <c:pt idx="2202">
                  <c:v>2.2390077273092026</c:v>
                </c:pt>
                <c:pt idx="2203">
                  <c:v>2.254783514691586</c:v>
                </c:pt>
                <c:pt idx="2204">
                  <c:v>2.3617002371826015</c:v>
                </c:pt>
                <c:pt idx="2205">
                  <c:v>2.3636885474350771</c:v>
                </c:pt>
                <c:pt idx="2206">
                  <c:v>2.3381270279340858</c:v>
                </c:pt>
                <c:pt idx="2207">
                  <c:v>2.2961958579595767</c:v>
                </c:pt>
                <c:pt idx="2208">
                  <c:v>2.2294985586406035</c:v>
                </c:pt>
                <c:pt idx="2209">
                  <c:v>2.2375196687839729</c:v>
                </c:pt>
                <c:pt idx="2210">
                  <c:v>2.29143735472443</c:v>
                </c:pt>
                <c:pt idx="2211">
                  <c:v>2.3178711002543833</c:v>
                </c:pt>
                <c:pt idx="2212">
                  <c:v>2.2624438319603097</c:v>
                </c:pt>
                <c:pt idx="2213">
                  <c:v>2.2202791232304255</c:v>
                </c:pt>
                <c:pt idx="2214">
                  <c:v>2.1701797766638968</c:v>
                </c:pt>
                <c:pt idx="2215">
                  <c:v>2.2177430138223131</c:v>
                </c:pt>
                <c:pt idx="2216">
                  <c:v>2.1518218222093952</c:v>
                </c:pt>
                <c:pt idx="2217">
                  <c:v>2.2623171948293264</c:v>
                </c:pt>
                <c:pt idx="2218">
                  <c:v>2.2965893365260484</c:v>
                </c:pt>
                <c:pt idx="2219">
                  <c:v>2.2504689914762239</c:v>
                </c:pt>
                <c:pt idx="2220">
                  <c:v>2.1698952491629209</c:v>
                </c:pt>
                <c:pt idx="2221">
                  <c:v>2.1286264501537051</c:v>
                </c:pt>
                <c:pt idx="2222">
                  <c:v>2.1392178683026657</c:v>
                </c:pt>
                <c:pt idx="2223">
                  <c:v>2.8294162603442055</c:v>
                </c:pt>
                <c:pt idx="2224">
                  <c:v>2.8611806255659751</c:v>
                </c:pt>
                <c:pt idx="2225">
                  <c:v>2.9797497773216337</c:v>
                </c:pt>
                <c:pt idx="2226">
                  <c:v>3.1806764604301416</c:v>
                </c:pt>
                <c:pt idx="2227">
                  <c:v>3.2382507925032558</c:v>
                </c:pt>
                <c:pt idx="2228">
                  <c:v>3.2047708371065213</c:v>
                </c:pt>
                <c:pt idx="2229">
                  <c:v>3.3337102070784694</c:v>
                </c:pt>
                <c:pt idx="2230">
                  <c:v>3.4846983689882638</c:v>
                </c:pt>
                <c:pt idx="2231">
                  <c:v>3.5068319655425153</c:v>
                </c:pt>
                <c:pt idx="2232">
                  <c:v>3.6262490807727974</c:v>
                </c:pt>
                <c:pt idx="2233">
                  <c:v>4.0780613721754744</c:v>
                </c:pt>
                <c:pt idx="2234">
                  <c:v>4.3180792291152699</c:v>
                </c:pt>
                <c:pt idx="2235">
                  <c:v>4.4857989534703062</c:v>
                </c:pt>
                <c:pt idx="2236">
                  <c:v>4.4400930592937842</c:v>
                </c:pt>
                <c:pt idx="2237">
                  <c:v>4.5128722359495264</c:v>
                </c:pt>
                <c:pt idx="2238">
                  <c:v>4.5207687050465832</c:v>
                </c:pt>
                <c:pt idx="2239">
                  <c:v>4.7019718452987398</c:v>
                </c:pt>
                <c:pt idx="2240">
                  <c:v>4.9757334532915767</c:v>
                </c:pt>
                <c:pt idx="2241">
                  <c:v>4.9711026312379882</c:v>
                </c:pt>
                <c:pt idx="2242">
                  <c:v>5.0795107000851365</c:v>
                </c:pt>
                <c:pt idx="2243">
                  <c:v>5.3183600575022396</c:v>
                </c:pt>
                <c:pt idx="2244">
                  <c:v>5.3818649439198527</c:v>
                </c:pt>
                <c:pt idx="2245">
                  <c:v>5.5596094525361579</c:v>
                </c:pt>
                <c:pt idx="2246">
                  <c:v>5.8393494462169508</c:v>
                </c:pt>
                <c:pt idx="2247">
                  <c:v>6.1339100413127099</c:v>
                </c:pt>
                <c:pt idx="2248">
                  <c:v>6.2186813036458028</c:v>
                </c:pt>
                <c:pt idx="2249">
                  <c:v>6.3625341874734129</c:v>
                </c:pt>
                <c:pt idx="2250">
                  <c:v>6.3309384781156446</c:v>
                </c:pt>
                <c:pt idx="2251">
                  <c:v>6.4516628150561983</c:v>
                </c:pt>
                <c:pt idx="2252">
                  <c:v>6.6114259288434365</c:v>
                </c:pt>
                <c:pt idx="2253">
                  <c:v>6.5948283894143893</c:v>
                </c:pt>
                <c:pt idx="2254">
                  <c:v>6.4888252485206008</c:v>
                </c:pt>
                <c:pt idx="2255">
                  <c:v>6.6205338327580527</c:v>
                </c:pt>
                <c:pt idx="2256">
                  <c:v>6.8321972079521949</c:v>
                </c:pt>
                <c:pt idx="2257">
                  <c:v>6.8035430208227465</c:v>
                </c:pt>
                <c:pt idx="2258">
                  <c:v>6.8144357777040385</c:v>
                </c:pt>
                <c:pt idx="2259">
                  <c:v>6.8775420043819837</c:v>
                </c:pt>
                <c:pt idx="2260">
                  <c:v>6.7979380672155312</c:v>
                </c:pt>
                <c:pt idx="2261">
                  <c:v>6.6493202033324046</c:v>
                </c:pt>
                <c:pt idx="2262">
                  <c:v>6.6962575312564621</c:v>
                </c:pt>
                <c:pt idx="2263">
                  <c:v>6.723849595382136</c:v>
                </c:pt>
                <c:pt idx="2264">
                  <c:v>6.770346947988946</c:v>
                </c:pt>
                <c:pt idx="2265">
                  <c:v>6.820698290901654</c:v>
                </c:pt>
                <c:pt idx="2266">
                  <c:v>6.6177808628932198</c:v>
                </c:pt>
                <c:pt idx="2267">
                  <c:v>6.6980924824993586</c:v>
                </c:pt>
                <c:pt idx="2268">
                  <c:v>6.5307236212770814</c:v>
                </c:pt>
                <c:pt idx="2269">
                  <c:v>6.5054999733407834</c:v>
                </c:pt>
                <c:pt idx="2270">
                  <c:v>6.4973038314452021</c:v>
                </c:pt>
                <c:pt idx="2271">
                  <c:v>6.5397068823316484</c:v>
                </c:pt>
                <c:pt idx="2272">
                  <c:v>6.5019532505362205</c:v>
                </c:pt>
                <c:pt idx="2273">
                  <c:v>6.5497584959103516</c:v>
                </c:pt>
                <c:pt idx="2274">
                  <c:v>6.0601330998249869</c:v>
                </c:pt>
                <c:pt idx="2275">
                  <c:v>13.86566875156117</c:v>
                </c:pt>
                <c:pt idx="2276">
                  <c:v>18.101948934568274</c:v>
                </c:pt>
                <c:pt idx="2277">
                  <c:v>21.497464716736058</c:v>
                </c:pt>
                <c:pt idx="2278">
                  <c:v>24.246330428210833</c:v>
                </c:pt>
                <c:pt idx="2279">
                  <c:v>26.506688575413975</c:v>
                </c:pt>
                <c:pt idx="2280">
                  <c:v>28.45674049228899</c:v>
                </c:pt>
                <c:pt idx="2281">
                  <c:v>29.958897083180386</c:v>
                </c:pt>
                <c:pt idx="2282">
                  <c:v>31.366616079572591</c:v>
                </c:pt>
                <c:pt idx="2283">
                  <c:v>32.607383893899836</c:v>
                </c:pt>
                <c:pt idx="2284">
                  <c:v>33.453517398883704</c:v>
                </c:pt>
                <c:pt idx="2285">
                  <c:v>34.09636089610467</c:v>
                </c:pt>
                <c:pt idx="2286">
                  <c:v>34.247136796284828</c:v>
                </c:pt>
                <c:pt idx="2287">
                  <c:v>34.197619296609709</c:v>
                </c:pt>
                <c:pt idx="2288">
                  <c:v>33.977365558578171</c:v>
                </c:pt>
                <c:pt idx="2289">
                  <c:v>33.813870619365943</c:v>
                </c:pt>
                <c:pt idx="2290">
                  <c:v>33.776837180806062</c:v>
                </c:pt>
                <c:pt idx="2291">
                  <c:v>34.212981094281787</c:v>
                </c:pt>
                <c:pt idx="2292">
                  <c:v>34.614175655558689</c:v>
                </c:pt>
                <c:pt idx="2293">
                  <c:v>34.906807191511241</c:v>
                </c:pt>
                <c:pt idx="2294">
                  <c:v>35.2269779396741</c:v>
                </c:pt>
                <c:pt idx="2295">
                  <c:v>35.718260713602355</c:v>
                </c:pt>
                <c:pt idx="2296">
                  <c:v>35.998189039830017</c:v>
                </c:pt>
                <c:pt idx="2297">
                  <c:v>36.504700493103293</c:v>
                </c:pt>
                <c:pt idx="2298">
                  <c:v>36.84160263005451</c:v>
                </c:pt>
                <c:pt idx="2299">
                  <c:v>37.123036619635414</c:v>
                </c:pt>
                <c:pt idx="2300">
                  <c:v>37.44530850615498</c:v>
                </c:pt>
                <c:pt idx="2301">
                  <c:v>37.628975148518265</c:v>
                </c:pt>
                <c:pt idx="2302">
                  <c:v>38.068017561688784</c:v>
                </c:pt>
                <c:pt idx="2303">
                  <c:v>38.457124626664253</c:v>
                </c:pt>
                <c:pt idx="2304">
                  <c:v>38.910918549085935</c:v>
                </c:pt>
                <c:pt idx="2305">
                  <c:v>39.099456357161472</c:v>
                </c:pt>
                <c:pt idx="2306">
                  <c:v>39.032029466440548</c:v>
                </c:pt>
                <c:pt idx="2307">
                  <c:v>38.879795029884143</c:v>
                </c:pt>
                <c:pt idx="2308">
                  <c:v>38.505884454874952</c:v>
                </c:pt>
                <c:pt idx="2309">
                  <c:v>37.966267712914544</c:v>
                </c:pt>
                <c:pt idx="2310">
                  <c:v>37.293822426093925</c:v>
                </c:pt>
                <c:pt idx="2311">
                  <c:v>36.383058439854096</c:v>
                </c:pt>
                <c:pt idx="2312">
                  <c:v>35.311129582464282</c:v>
                </c:pt>
                <c:pt idx="2313">
                  <c:v>34.052889146440457</c:v>
                </c:pt>
                <c:pt idx="2314">
                  <c:v>32.572013912053912</c:v>
                </c:pt>
                <c:pt idx="2315">
                  <c:v>30.736286773527862</c:v>
                </c:pt>
                <c:pt idx="2316">
                  <c:v>28.586692616617139</c:v>
                </c:pt>
                <c:pt idx="2317">
                  <c:v>26.031060489208595</c:v>
                </c:pt>
                <c:pt idx="2318">
                  <c:v>22.96522578395254</c:v>
                </c:pt>
                <c:pt idx="2319">
                  <c:v>19.130342850960822</c:v>
                </c:pt>
                <c:pt idx="2320">
                  <c:v>13.838092050970248</c:v>
                </c:pt>
                <c:pt idx="2321">
                  <c:v>1.9995725127425235</c:v>
                </c:pt>
                <c:pt idx="2322">
                  <c:v>1.9990746993110968</c:v>
                </c:pt>
                <c:pt idx="2323">
                  <c:v>2.0182702331077347</c:v>
                </c:pt>
                <c:pt idx="2324">
                  <c:v>2.0367676948662536</c:v>
                </c:pt>
                <c:pt idx="2325">
                  <c:v>2.0536487112976203</c:v>
                </c:pt>
                <c:pt idx="2326">
                  <c:v>2.0801183582318306</c:v>
                </c:pt>
                <c:pt idx="2327">
                  <c:v>2.0814790112455497</c:v>
                </c:pt>
                <c:pt idx="2328">
                  <c:v>1.998506151426068</c:v>
                </c:pt>
                <c:pt idx="2329">
                  <c:v>2.0601477266132275</c:v>
                </c:pt>
                <c:pt idx="2330">
                  <c:v>2.1090905720160174</c:v>
                </c:pt>
                <c:pt idx="2331">
                  <c:v>2.1610365776683276</c:v>
                </c:pt>
                <c:pt idx="2332">
                  <c:v>2.1239130967673203</c:v>
                </c:pt>
                <c:pt idx="2333">
                  <c:v>2.1023140864072469</c:v>
                </c:pt>
                <c:pt idx="2334">
                  <c:v>2.0336125111177328</c:v>
                </c:pt>
                <c:pt idx="2335">
                  <c:v>1.9506228569108737</c:v>
                </c:pt>
                <c:pt idx="2336">
                  <c:v>2.0240573899427674</c:v>
                </c:pt>
                <c:pt idx="2337">
                  <c:v>2.0318713541167135</c:v>
                </c:pt>
                <c:pt idx="2338">
                  <c:v>2.1139842785373637</c:v>
                </c:pt>
                <c:pt idx="2339">
                  <c:v>2.1885952095762424</c:v>
                </c:pt>
                <c:pt idx="2340">
                  <c:v>2.252372743004432</c:v>
                </c:pt>
                <c:pt idx="2341">
                  <c:v>2.2519055587867096</c:v>
                </c:pt>
                <c:pt idx="2342">
                  <c:v>2.2850174827497605</c:v>
                </c:pt>
                <c:pt idx="2343">
                  <c:v>2.3026782670696999</c:v>
                </c:pt>
                <c:pt idx="2344">
                  <c:v>2.3597390231450581</c:v>
                </c:pt>
                <c:pt idx="2345">
                  <c:v>2.34412914273911</c:v>
                </c:pt>
                <c:pt idx="2346">
                  <c:v>2.329987724747971</c:v>
                </c:pt>
                <c:pt idx="2347">
                  <c:v>2.2832379439631829</c:v>
                </c:pt>
                <c:pt idx="2348">
                  <c:v>2.2751403806992627</c:v>
                </c:pt>
                <c:pt idx="2349">
                  <c:v>2.2681101096060301</c:v>
                </c:pt>
                <c:pt idx="2350">
                  <c:v>2.2603107944673302</c:v>
                </c:pt>
                <c:pt idx="2351">
                  <c:v>2.2702079487249844</c:v>
                </c:pt>
                <c:pt idx="2352">
                  <c:v>2.2881955721207481</c:v>
                </c:pt>
                <c:pt idx="2353">
                  <c:v>2.2985657709138807</c:v>
                </c:pt>
                <c:pt idx="2354">
                  <c:v>2.2766302362005288</c:v>
                </c:pt>
                <c:pt idx="2355">
                  <c:v>2.2507739715649766</c:v>
                </c:pt>
                <c:pt idx="2356">
                  <c:v>2.2491843362914996</c:v>
                </c:pt>
                <c:pt idx="2357">
                  <c:v>2.2426850393905022</c:v>
                </c:pt>
                <c:pt idx="2358">
                  <c:v>2.281731839331016</c:v>
                </c:pt>
                <c:pt idx="2359">
                  <c:v>2.2721294228328865</c:v>
                </c:pt>
                <c:pt idx="2360">
                  <c:v>2.2046387197975803</c:v>
                </c:pt>
                <c:pt idx="2361">
                  <c:v>2.2090971442735294</c:v>
                </c:pt>
                <c:pt idx="2362">
                  <c:v>2.1530651831171448</c:v>
                </c:pt>
                <c:pt idx="2363">
                  <c:v>2.1584550692081717</c:v>
                </c:pt>
                <c:pt idx="2364">
                  <c:v>2.1459410949863367</c:v>
                </c:pt>
                <c:pt idx="2365">
                  <c:v>2.1948044610475139</c:v>
                </c:pt>
                <c:pt idx="2366">
                  <c:v>2.1898337610025207</c:v>
                </c:pt>
                <c:pt idx="2367">
                  <c:v>2.1415203254196653</c:v>
                </c:pt>
                <c:pt idx="2368">
                  <c:v>2.1464134576918132</c:v>
                </c:pt>
                <c:pt idx="2369">
                  <c:v>2.1391512355443827</c:v>
                </c:pt>
                <c:pt idx="2370">
                  <c:v>2.1408053076230615</c:v>
                </c:pt>
                <c:pt idx="2371">
                  <c:v>2.1174707963832566</c:v>
                </c:pt>
                <c:pt idx="2372">
                  <c:v>2.1585736376814952</c:v>
                </c:pt>
                <c:pt idx="2373">
                  <c:v>2.131468404172236</c:v>
                </c:pt>
                <c:pt idx="2374">
                  <c:v>2.1125560572857287</c:v>
                </c:pt>
                <c:pt idx="2375">
                  <c:v>2.1088122983133095</c:v>
                </c:pt>
                <c:pt idx="2376">
                  <c:v>2.1858860742136224</c:v>
                </c:pt>
                <c:pt idx="2377">
                  <c:v>2.1467058994622681</c:v>
                </c:pt>
                <c:pt idx="2378">
                  <c:v>2.2093420322370254</c:v>
                </c:pt>
                <c:pt idx="2379">
                  <c:v>2.2110252644787924</c:v>
                </c:pt>
                <c:pt idx="2380">
                  <c:v>2.2526345447610803</c:v>
                </c:pt>
                <c:pt idx="2381">
                  <c:v>2.2412163928890796</c:v>
                </c:pt>
                <c:pt idx="2382">
                  <c:v>2.232016851834421</c:v>
                </c:pt>
                <c:pt idx="2383">
                  <c:v>2.2386733576392648</c:v>
                </c:pt>
                <c:pt idx="2384">
                  <c:v>2.1969530454082964</c:v>
                </c:pt>
                <c:pt idx="2385">
                  <c:v>2.1632062133506182</c:v>
                </c:pt>
                <c:pt idx="2386">
                  <c:v>2.2215299315619719</c:v>
                </c:pt>
                <c:pt idx="2387">
                  <c:v>2.2005092194010412</c:v>
                </c:pt>
                <c:pt idx="2388">
                  <c:v>2.2253870765844681</c:v>
                </c:pt>
                <c:pt idx="2389">
                  <c:v>2.1173187002971288</c:v>
                </c:pt>
                <c:pt idx="2390">
                  <c:v>2.1264176874829768</c:v>
                </c:pt>
                <c:pt idx="2391">
                  <c:v>2.1658109446344436</c:v>
                </c:pt>
                <c:pt idx="2392">
                  <c:v>2.1178870741697726</c:v>
                </c:pt>
                <c:pt idx="2393">
                  <c:v>2.0925681717362403</c:v>
                </c:pt>
                <c:pt idx="2394">
                  <c:v>2.0922209323472671</c:v>
                </c:pt>
                <c:pt idx="2395">
                  <c:v>2.0866768336147676</c:v>
                </c:pt>
                <c:pt idx="2396">
                  <c:v>2.151404179809917</c:v>
                </c:pt>
                <c:pt idx="2397">
                  <c:v>2.1509715833391923</c:v>
                </c:pt>
                <c:pt idx="2398">
                  <c:v>2.1287455111746696</c:v>
                </c:pt>
                <c:pt idx="2399">
                  <c:v>2.1408498060624561</c:v>
                </c:pt>
                <c:pt idx="2400">
                  <c:v>2.1418238909087837</c:v>
                </c:pt>
                <c:pt idx="2401">
                  <c:v>2.0625822276115278</c:v>
                </c:pt>
                <c:pt idx="2402">
                  <c:v>2.0949123986166818</c:v>
                </c:pt>
                <c:pt idx="2403">
                  <c:v>2.0432228077051695</c:v>
                </c:pt>
                <c:pt idx="2404">
                  <c:v>1.9975548903236771</c:v>
                </c:pt>
                <c:pt idx="2405">
                  <c:v>1.9719861575304904</c:v>
                </c:pt>
                <c:pt idx="2406">
                  <c:v>1.9566640635355177</c:v>
                </c:pt>
                <c:pt idx="2407">
                  <c:v>1.8982212555312614</c:v>
                </c:pt>
                <c:pt idx="2408">
                  <c:v>1.8864644357056097</c:v>
                </c:pt>
                <c:pt idx="2409">
                  <c:v>1.8360502234411538</c:v>
                </c:pt>
                <c:pt idx="2410">
                  <c:v>1.7455645126649519</c:v>
                </c:pt>
                <c:pt idx="2411">
                  <c:v>1.7291082493967957</c:v>
                </c:pt>
                <c:pt idx="2412">
                  <c:v>1.762315515503432</c:v>
                </c:pt>
                <c:pt idx="2413">
                  <c:v>1.7431220159220784</c:v>
                </c:pt>
                <c:pt idx="2414">
                  <c:v>1.6668697645737409</c:v>
                </c:pt>
                <c:pt idx="2415">
                  <c:v>1.6677979986798765</c:v>
                </c:pt>
                <c:pt idx="2416">
                  <c:v>1.6702859484944026</c:v>
                </c:pt>
                <c:pt idx="2417">
                  <c:v>1.6432768056273754</c:v>
                </c:pt>
                <c:pt idx="2418">
                  <c:v>1.626794219635685</c:v>
                </c:pt>
                <c:pt idx="2419">
                  <c:v>1.5414452047072265</c:v>
                </c:pt>
                <c:pt idx="2420">
                  <c:v>1.5952181275403952</c:v>
                </c:pt>
                <c:pt idx="2421">
                  <c:v>1.5709614958131999</c:v>
                </c:pt>
                <c:pt idx="2422">
                  <c:v>1.5343660627215743</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pt idx="2452">
                  <c:v>#N/A</c:v>
                </c:pt>
              </c:numCache>
            </c:numRef>
          </c:val>
          <c:smooth val="0"/>
          <c:extLst>
            <c:ext xmlns:c16="http://schemas.microsoft.com/office/drawing/2014/chart" uri="{C3380CC4-5D6E-409C-BE32-E72D297353CC}">
              <c16:uniqueId val="{00000004-BF3F-43A4-B953-054E6028043D}"/>
            </c:ext>
          </c:extLst>
        </c:ser>
        <c:ser>
          <c:idx val="7"/>
          <c:order val="7"/>
          <c:tx>
            <c:strRef>
              <c:f>'Data Repository Table'!$J$1</c:f>
              <c:strCache>
                <c:ptCount val="1"/>
                <c:pt idx="0">
                  <c:v>PUMP FAILURE (1 or 0)</c:v>
                </c:pt>
              </c:strCache>
            </c:strRef>
          </c:tx>
          <c:spPr>
            <a:ln w="28575" cap="rnd">
              <a:solidFill>
                <a:schemeClr val="accent2">
                  <a:lumMod val="60000"/>
                </a:schemeClr>
              </a:solidFill>
              <a:round/>
            </a:ln>
            <a:effectLst/>
          </c:spPr>
          <c:marker>
            <c:symbol val="none"/>
          </c:marker>
          <c:val>
            <c:numRef>
              <c:f>'Data Repository Table'!$J$4908:$J$7360</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N/A</c:v>
                </c:pt>
              </c:numCache>
            </c:numRef>
          </c:val>
          <c:smooth val="0"/>
          <c:extLst>
            <c:ext xmlns:c16="http://schemas.microsoft.com/office/drawing/2014/chart" uri="{C3380CC4-5D6E-409C-BE32-E72D297353CC}">
              <c16:uniqueId val="{00000005-BF3F-43A4-B953-054E6028043D}"/>
            </c:ext>
          </c:extLst>
        </c:ser>
        <c:dLbls>
          <c:showLegendKey val="0"/>
          <c:showVal val="0"/>
          <c:showCatName val="0"/>
          <c:showSerName val="0"/>
          <c:showPercent val="0"/>
          <c:showBubbleSize val="0"/>
        </c:dLbls>
        <c:marker val="1"/>
        <c:smooth val="0"/>
        <c:axId val="602753464"/>
        <c:axId val="602753792"/>
      </c:lineChart>
      <c:lineChart>
        <c:grouping val="standard"/>
        <c:varyColors val="0"/>
        <c:ser>
          <c:idx val="2"/>
          <c:order val="2"/>
          <c:tx>
            <c:strRef>
              <c:f>'Data Repository Table'!$E$1</c:f>
              <c:strCache>
                <c:ptCount val="1"/>
                <c:pt idx="0">
                  <c:v>Pump Speed (RPM)</c:v>
                </c:pt>
              </c:strCache>
            </c:strRef>
          </c:tx>
          <c:spPr>
            <a:ln w="28575" cap="rnd">
              <a:solidFill>
                <a:schemeClr val="accent3"/>
              </a:solidFill>
              <a:round/>
            </a:ln>
            <a:effectLst/>
          </c:spPr>
          <c:marker>
            <c:symbol val="none"/>
          </c:marker>
          <c:val>
            <c:numRef>
              <c:f>'Data Repository Table'!$E$4908:$E$7360</c:f>
              <c:numCache>
                <c:formatCode>General</c:formatCode>
                <c:ptCount val="2453"/>
                <c:pt idx="0">
                  <c:v>5.6505780463652133</c:v>
                </c:pt>
                <c:pt idx="1">
                  <c:v>5.5658327879712592</c:v>
                </c:pt>
                <c:pt idx="2">
                  <c:v>5.7436266689111992</c:v>
                </c:pt>
                <c:pt idx="3">
                  <c:v>5.6301798133969747</c:v>
                </c:pt>
                <c:pt idx="4">
                  <c:v>5.7124651477725559</c:v>
                </c:pt>
                <c:pt idx="5">
                  <c:v>5.7124651477725559</c:v>
                </c:pt>
                <c:pt idx="6">
                  <c:v>5.6945550299604024</c:v>
                </c:pt>
                <c:pt idx="7">
                  <c:v>5.7385697517499015</c:v>
                </c:pt>
                <c:pt idx="8">
                  <c:v>5.6357155998666801</c:v>
                </c:pt>
                <c:pt idx="9">
                  <c:v>5.754661504576795</c:v>
                </c:pt>
                <c:pt idx="10">
                  <c:v>5.6858624902528652</c:v>
                </c:pt>
                <c:pt idx="11">
                  <c:v>5.801927747860864</c:v>
                </c:pt>
                <c:pt idx="12">
                  <c:v>5.7630637013490009</c:v>
                </c:pt>
                <c:pt idx="13">
                  <c:v>5.6591347794175126</c:v>
                </c:pt>
                <c:pt idx="14">
                  <c:v>5.7372579715625527</c:v>
                </c:pt>
                <c:pt idx="15">
                  <c:v>5.746621260704285</c:v>
                </c:pt>
                <c:pt idx="16">
                  <c:v>5.8827248459283927</c:v>
                </c:pt>
                <c:pt idx="17">
                  <c:v>6.0085959929464066</c:v>
                </c:pt>
                <c:pt idx="18">
                  <c:v>6.0121740293457719</c:v>
                </c:pt>
                <c:pt idx="19">
                  <c:v>6.1825282784616933</c:v>
                </c:pt>
                <c:pt idx="20">
                  <c:v>6.2582418775443207</c:v>
                </c:pt>
                <c:pt idx="21">
                  <c:v>6.2499892473025769</c:v>
                </c:pt>
                <c:pt idx="22">
                  <c:v>6.2246475048101955</c:v>
                </c:pt>
                <c:pt idx="23">
                  <c:v>6.3396685914535267</c:v>
                </c:pt>
                <c:pt idx="24">
                  <c:v>6.2592726912682046</c:v>
                </c:pt>
                <c:pt idx="25">
                  <c:v>6.204056945309671</c:v>
                </c:pt>
                <c:pt idx="26">
                  <c:v>6.3758617380888847</c:v>
                </c:pt>
                <c:pt idx="27">
                  <c:v>6.1394196076078362</c:v>
                </c:pt>
                <c:pt idx="28">
                  <c:v>6.0433914853467243</c:v>
                </c:pt>
                <c:pt idx="29">
                  <c:v>6.0130682057758023</c:v>
                </c:pt>
                <c:pt idx="30">
                  <c:v>6.0384075377037814</c:v>
                </c:pt>
                <c:pt idx="31">
                  <c:v>5.9204402626177917</c:v>
                </c:pt>
                <c:pt idx="32">
                  <c:v>5.8067443175924724</c:v>
                </c:pt>
                <c:pt idx="33">
                  <c:v>5.5389141438077116</c:v>
                </c:pt>
                <c:pt idx="34">
                  <c:v>5.8357445093573652</c:v>
                </c:pt>
                <c:pt idx="35">
                  <c:v>5.8752259164982306</c:v>
                </c:pt>
                <c:pt idx="36">
                  <c:v>5.8568955775608309</c:v>
                </c:pt>
                <c:pt idx="37">
                  <c:v>5.8568955775608309</c:v>
                </c:pt>
                <c:pt idx="38">
                  <c:v>5.9788156485327253</c:v>
                </c:pt>
                <c:pt idx="39">
                  <c:v>5.8902142283548562</c:v>
                </c:pt>
                <c:pt idx="40">
                  <c:v>5.7789011866211357</c:v>
                </c:pt>
                <c:pt idx="41">
                  <c:v>5.8421898972644604</c:v>
                </c:pt>
                <c:pt idx="42">
                  <c:v>5.7314450503857568</c:v>
                </c:pt>
                <c:pt idx="43">
                  <c:v>5.7785290385583741</c:v>
                </c:pt>
                <c:pt idx="44">
                  <c:v>5.7021029887773578</c:v>
                </c:pt>
                <c:pt idx="45">
                  <c:v>5.6079820225809733</c:v>
                </c:pt>
                <c:pt idx="46">
                  <c:v>5.6338073224273968</c:v>
                </c:pt>
                <c:pt idx="47">
                  <c:v>5.3781717323636764</c:v>
                </c:pt>
                <c:pt idx="48">
                  <c:v>5.32189633919727</c:v>
                </c:pt>
                <c:pt idx="49">
                  <c:v>5.4019112507787765</c:v>
                </c:pt>
                <c:pt idx="50">
                  <c:v>5.4084760240964185</c:v>
                </c:pt>
                <c:pt idx="51">
                  <c:v>5.8161806186919032</c:v>
                </c:pt>
                <c:pt idx="52">
                  <c:v>5.8420058420087617</c:v>
                </c:pt>
                <c:pt idx="53">
                  <c:v>5.840901388677783</c:v>
                </c:pt>
                <c:pt idx="54">
                  <c:v>6.020395443018888</c:v>
                </c:pt>
                <c:pt idx="55">
                  <c:v>6.0010751724842155</c:v>
                </c:pt>
                <c:pt idx="56">
                  <c:v>5.9405658468402791</c:v>
                </c:pt>
                <c:pt idx="57">
                  <c:v>5.6633133658283379</c:v>
                </c:pt>
                <c:pt idx="58">
                  <c:v>5.8874753155659034</c:v>
                </c:pt>
                <c:pt idx="59">
                  <c:v>6.0425017961924725</c:v>
                </c:pt>
                <c:pt idx="60">
                  <c:v>5.8397967264667372</c:v>
                </c:pt>
                <c:pt idx="61">
                  <c:v>5.8397967264667372</c:v>
                </c:pt>
                <c:pt idx="62">
                  <c:v>5.6648320875949318</c:v>
                </c:pt>
                <c:pt idx="63">
                  <c:v>5.6505780463652133</c:v>
                </c:pt>
                <c:pt idx="64">
                  <c:v>5.7456856184276619</c:v>
                </c:pt>
                <c:pt idx="65">
                  <c:v>5.4370295495408758</c:v>
                </c:pt>
                <c:pt idx="66">
                  <c:v>5.2658363303529008</c:v>
                </c:pt>
                <c:pt idx="67">
                  <c:v>5.2910961931088689</c:v>
                </c:pt>
                <c:pt idx="68">
                  <c:v>5.3227044625546256</c:v>
                </c:pt>
                <c:pt idx="69">
                  <c:v>5.2658363303529008</c:v>
                </c:pt>
                <c:pt idx="70">
                  <c:v>5.3761720402579769</c:v>
                </c:pt>
                <c:pt idx="71">
                  <c:v>5.6397208807620274</c:v>
                </c:pt>
                <c:pt idx="72">
                  <c:v>5.5402728864121853</c:v>
                </c:pt>
                <c:pt idx="73">
                  <c:v>5.4762439054362781</c:v>
                </c:pt>
                <c:pt idx="74">
                  <c:v>5.3719702638909901</c:v>
                </c:pt>
                <c:pt idx="75">
                  <c:v>5.2896734456193357</c:v>
                </c:pt>
                <c:pt idx="76">
                  <c:v>5.3723705746530408</c:v>
                </c:pt>
                <c:pt idx="77">
                  <c:v>5.1198538285586279</c:v>
                </c:pt>
                <c:pt idx="78">
                  <c:v>5.0500718615136178</c:v>
                </c:pt>
                <c:pt idx="79">
                  <c:v>5.0381341485638034</c:v>
                </c:pt>
                <c:pt idx="80">
                  <c:v>4.7787612557842793</c:v>
                </c:pt>
                <c:pt idx="81">
                  <c:v>4.9132255134724439</c:v>
                </c:pt>
                <c:pt idx="82">
                  <c:v>4.696601379309195</c:v>
                </c:pt>
                <c:pt idx="83">
                  <c:v>4.5247230058391308</c:v>
                </c:pt>
                <c:pt idx="84">
                  <c:v>4.6917910466906392</c:v>
                </c:pt>
                <c:pt idx="85">
                  <c:v>4.6299631898952445</c:v>
                </c:pt>
                <c:pt idx="86">
                  <c:v>4.9046828621731118</c:v>
                </c:pt>
                <c:pt idx="87">
                  <c:v>5.0829675525016826</c:v>
                </c:pt>
                <c:pt idx="88">
                  <c:v>5.1082896996855984</c:v>
                </c:pt>
                <c:pt idx="89">
                  <c:v>5.0225298855868354</c:v>
                </c:pt>
                <c:pt idx="90">
                  <c:v>4.9969883403024138</c:v>
                </c:pt>
                <c:pt idx="91">
                  <c:v>4.9559348585893108</c:v>
                </c:pt>
                <c:pt idx="92">
                  <c:v>5.2525467453253532</c:v>
                </c:pt>
                <c:pt idx="93">
                  <c:v>5.5642870453078404</c:v>
                </c:pt>
                <c:pt idx="94">
                  <c:v>5.5937753423466301</c:v>
                </c:pt>
                <c:pt idx="95">
                  <c:v>5.8283696239272844</c:v>
                </c:pt>
                <c:pt idx="96">
                  <c:v>5.7428777769764805</c:v>
                </c:pt>
                <c:pt idx="97">
                  <c:v>5.6064479008117187</c:v>
                </c:pt>
                <c:pt idx="98">
                  <c:v>5.6294158294307204</c:v>
                </c:pt>
                <c:pt idx="99">
                  <c:v>5.6886984735157711</c:v>
                </c:pt>
                <c:pt idx="100">
                  <c:v>5.7276916478545896</c:v>
                </c:pt>
                <c:pt idx="101">
                  <c:v>5.9591801413440466</c:v>
                </c:pt>
                <c:pt idx="102">
                  <c:v>5.737445387094545</c:v>
                </c:pt>
                <c:pt idx="103">
                  <c:v>5.8100765268033978</c:v>
                </c:pt>
                <c:pt idx="104">
                  <c:v>5.9200770119954518</c:v>
                </c:pt>
                <c:pt idx="105">
                  <c:v>5.7667940815061733</c:v>
                </c:pt>
                <c:pt idx="106">
                  <c:v>5.7484920883934931</c:v>
                </c:pt>
                <c:pt idx="107">
                  <c:v>5.8420058420087617</c:v>
                </c:pt>
                <c:pt idx="108">
                  <c:v>5.8272625860957934</c:v>
                </c:pt>
                <c:pt idx="109">
                  <c:v>5.9775565907567056</c:v>
                </c:pt>
                <c:pt idx="110">
                  <c:v>6.0134258391187183</c:v>
                </c:pt>
                <c:pt idx="111">
                  <c:v>6.099003972975062</c:v>
                </c:pt>
                <c:pt idx="112">
                  <c:v>5.9517775423799666</c:v>
                </c:pt>
                <c:pt idx="113">
                  <c:v>5.9705369798668029</c:v>
                </c:pt>
                <c:pt idx="114">
                  <c:v>5.9075311874913359</c:v>
                </c:pt>
                <c:pt idx="115">
                  <c:v>5.8047070258466968</c:v>
                </c:pt>
                <c:pt idx="116">
                  <c:v>5.8732123796023243</c:v>
                </c:pt>
                <c:pt idx="117">
                  <c:v>5.7022915597378967</c:v>
                </c:pt>
                <c:pt idx="118">
                  <c:v>5.6852951238402127</c:v>
                </c:pt>
                <c:pt idx="119">
                  <c:v>5.6560938685158302</c:v>
                </c:pt>
                <c:pt idx="120">
                  <c:v>5.6743148892501187</c:v>
                </c:pt>
                <c:pt idx="121">
                  <c:v>5.575869670342481</c:v>
                </c:pt>
                <c:pt idx="122">
                  <c:v>5.5743267108745878</c:v>
                </c:pt>
                <c:pt idx="123">
                  <c:v>5.440588203494177</c:v>
                </c:pt>
                <c:pt idx="124">
                  <c:v>5.2898767186886984</c:v>
                </c:pt>
                <c:pt idx="125">
                  <c:v>5.2959712827730669</c:v>
                </c:pt>
                <c:pt idx="126">
                  <c:v>5.0719553608835817</c:v>
                </c:pt>
                <c:pt idx="127">
                  <c:v>5.408277208648923</c:v>
                </c:pt>
                <c:pt idx="128">
                  <c:v>5.5727833242011684</c:v>
                </c:pt>
                <c:pt idx="129">
                  <c:v>5.6372417567154169</c:v>
                </c:pt>
                <c:pt idx="130">
                  <c:v>5.6777248207169171</c:v>
                </c:pt>
                <c:pt idx="131">
                  <c:v>5.7135944282318984</c:v>
                </c:pt>
                <c:pt idx="132">
                  <c:v>5.4534195644784713</c:v>
                </c:pt>
                <c:pt idx="133">
                  <c:v>5.5157643091396222</c:v>
                </c:pt>
                <c:pt idx="134">
                  <c:v>5.4557851312024255</c:v>
                </c:pt>
                <c:pt idx="135">
                  <c:v>5.3651604110743181</c:v>
                </c:pt>
                <c:pt idx="136">
                  <c:v>5.3655612299020463</c:v>
                </c:pt>
                <c:pt idx="137">
                  <c:v>5.6238738418680159</c:v>
                </c:pt>
                <c:pt idx="138">
                  <c:v>5.5243352151994252</c:v>
                </c:pt>
                <c:pt idx="139">
                  <c:v>5.5067895531603259</c:v>
                </c:pt>
                <c:pt idx="140">
                  <c:v>5.3063159769572552</c:v>
                </c:pt>
                <c:pt idx="141">
                  <c:v>5.4146356821020261</c:v>
                </c:pt>
                <c:pt idx="142">
                  <c:v>5.3691672528658785</c:v>
                </c:pt>
                <c:pt idx="143">
                  <c:v>5.4457243759204914</c:v>
                </c:pt>
                <c:pt idx="144">
                  <c:v>5.5548099858136126</c:v>
                </c:pt>
                <c:pt idx="145">
                  <c:v>5.5903142043382328</c:v>
                </c:pt>
                <c:pt idx="146">
                  <c:v>5.6058724969100844</c:v>
                </c:pt>
                <c:pt idx="147">
                  <c:v>5.5188825423385328</c:v>
                </c:pt>
                <c:pt idx="148">
                  <c:v>5.566025975621236</c:v>
                </c:pt>
                <c:pt idx="149">
                  <c:v>5.4392045591758311</c:v>
                </c:pt>
                <c:pt idx="150">
                  <c:v>5.384366058271147</c:v>
                </c:pt>
                <c:pt idx="151">
                  <c:v>5.3450811474773969</c:v>
                </c:pt>
                <c:pt idx="152">
                  <c:v>5.6564740717810391</c:v>
                </c:pt>
                <c:pt idx="153">
                  <c:v>5.8340859729511152</c:v>
                </c:pt>
                <c:pt idx="154">
                  <c:v>5.8185835027517339</c:v>
                </c:pt>
                <c:pt idx="155">
                  <c:v>5.8467893956050059</c:v>
                </c:pt>
                <c:pt idx="156">
                  <c:v>6.0903590303265025</c:v>
                </c:pt>
                <c:pt idx="157">
                  <c:v>6.2712863320107228</c:v>
                </c:pt>
                <c:pt idx="158">
                  <c:v>6.0960060960091447</c:v>
                </c:pt>
                <c:pt idx="159">
                  <c:v>5.9213482916813662</c:v>
                </c:pt>
                <c:pt idx="160">
                  <c:v>5.8180290791290643</c:v>
                </c:pt>
                <c:pt idx="161">
                  <c:v>5.9238900325951001</c:v>
                </c:pt>
                <c:pt idx="162">
                  <c:v>5.8130368869862137</c:v>
                </c:pt>
                <c:pt idx="163">
                  <c:v>5.9088051664125523</c:v>
                </c:pt>
                <c:pt idx="164">
                  <c:v>5.7952520425395768</c:v>
                </c:pt>
                <c:pt idx="165">
                  <c:v>5.7874539873690569</c:v>
                </c:pt>
                <c:pt idx="166">
                  <c:v>5.9407468485266701</c:v>
                </c:pt>
                <c:pt idx="167">
                  <c:v>6.015213686888</c:v>
                </c:pt>
                <c:pt idx="168">
                  <c:v>5.7312574386391866</c:v>
                </c:pt>
                <c:pt idx="169">
                  <c:v>5.6905883438291962</c:v>
                </c:pt>
                <c:pt idx="170">
                  <c:v>5.6886984735157711</c:v>
                </c:pt>
                <c:pt idx="171">
                  <c:v>5.697197953040515</c:v>
                </c:pt>
                <c:pt idx="172">
                  <c:v>5.8480766068853782</c:v>
                </c:pt>
                <c:pt idx="173">
                  <c:v>5.6735568483824999</c:v>
                </c:pt>
                <c:pt idx="174">
                  <c:v>5.5256975426938935</c:v>
                </c:pt>
                <c:pt idx="175">
                  <c:v>5.4492773517149953</c:v>
                </c:pt>
                <c:pt idx="176">
                  <c:v>5.3537244597941189</c:v>
                </c:pt>
                <c:pt idx="177">
                  <c:v>5.3873607558783831</c:v>
                </c:pt>
                <c:pt idx="178">
                  <c:v>5.3881590608032477</c:v>
                </c:pt>
                <c:pt idx="179">
                  <c:v>5.3000304320489677</c:v>
                </c:pt>
                <c:pt idx="180">
                  <c:v>5.6579946293546834</c:v>
                </c:pt>
                <c:pt idx="181">
                  <c:v>5.7783429555390677</c:v>
                </c:pt>
                <c:pt idx="182">
                  <c:v>6.0723239603606363</c:v>
                </c:pt>
                <c:pt idx="183">
                  <c:v>5.8561611705889725</c:v>
                </c:pt>
                <c:pt idx="184">
                  <c:v>5.7757371637693344</c:v>
                </c:pt>
                <c:pt idx="185">
                  <c:v>5.963689411584868</c:v>
                </c:pt>
                <c:pt idx="186">
                  <c:v>6.0303889922499589</c:v>
                </c:pt>
                <c:pt idx="187">
                  <c:v>5.8243094565073799</c:v>
                </c:pt>
                <c:pt idx="188">
                  <c:v>5.5766409899851723</c:v>
                </c:pt>
                <c:pt idx="189">
                  <c:v>5.8085957809298927</c:v>
                </c:pt>
                <c:pt idx="190">
                  <c:v>5.8945938417451442</c:v>
                </c:pt>
                <c:pt idx="191">
                  <c:v>6.0689585650683213</c:v>
                </c:pt>
                <c:pt idx="192">
                  <c:v>5.8945938417451442</c:v>
                </c:pt>
                <c:pt idx="193">
                  <c:v>6.001971002427327</c:v>
                </c:pt>
                <c:pt idx="194">
                  <c:v>5.8292919948558364</c:v>
                </c:pt>
                <c:pt idx="195">
                  <c:v>5.8920394628904225</c:v>
                </c:pt>
                <c:pt idx="196">
                  <c:v>5.9606234789713488</c:v>
                </c:pt>
                <c:pt idx="197">
                  <c:v>6.001971002427327</c:v>
                </c:pt>
                <c:pt idx="198">
                  <c:v>6.1427463998877032</c:v>
                </c:pt>
                <c:pt idx="199">
                  <c:v>6.1269719230821158</c:v>
                </c:pt>
                <c:pt idx="200">
                  <c:v>6.2369002502190787</c:v>
                </c:pt>
                <c:pt idx="201">
                  <c:v>6.3083832258932384</c:v>
                </c:pt>
                <c:pt idx="202">
                  <c:v>6.2449979983983983</c:v>
                </c:pt>
                <c:pt idx="203">
                  <c:v>6.2656256284691185</c:v>
                </c:pt>
                <c:pt idx="204">
                  <c:v>6.1012954732263962</c:v>
                </c:pt>
                <c:pt idx="205">
                  <c:v>5.9773767037107932</c:v>
                </c:pt>
                <c:pt idx="206">
                  <c:v>6.0053739374856807</c:v>
                </c:pt>
                <c:pt idx="207">
                  <c:v>6.1423962960773304</c:v>
                </c:pt>
                <c:pt idx="208">
                  <c:v>6.3746811010265398</c:v>
                </c:pt>
                <c:pt idx="209">
                  <c:v>6.3197931094488018</c:v>
                </c:pt>
                <c:pt idx="210">
                  <c:v>6.3389901166451379</c:v>
                </c:pt>
                <c:pt idx="211">
                  <c:v>6.1572581525374783</c:v>
                </c:pt>
                <c:pt idx="212">
                  <c:v>6.1816586144663832</c:v>
                </c:pt>
                <c:pt idx="213">
                  <c:v>6.1371423422495468</c:v>
                </c:pt>
                <c:pt idx="214">
                  <c:v>6.3753557775486209</c:v>
                </c:pt>
                <c:pt idx="215">
                  <c:v>6.7537325402925488</c:v>
                </c:pt>
                <c:pt idx="216">
                  <c:v>6.8434098273094932</c:v>
                </c:pt>
                <c:pt idx="217">
                  <c:v>6.7816957945238423</c:v>
                </c:pt>
                <c:pt idx="218">
                  <c:v>6.8949100752828212</c:v>
                </c:pt>
                <c:pt idx="219">
                  <c:v>6.8158575380134403</c:v>
                </c:pt>
                <c:pt idx="220">
                  <c:v>6.7521402421352565</c:v>
                </c:pt>
                <c:pt idx="221">
                  <c:v>6.8199580612338995</c:v>
                </c:pt>
                <c:pt idx="222">
                  <c:v>6.4451365343363021</c:v>
                </c:pt>
                <c:pt idx="223">
                  <c:v>6.5313141492450839</c:v>
                </c:pt>
                <c:pt idx="224">
                  <c:v>6.2712863320107237</c:v>
                </c:pt>
                <c:pt idx="225">
                  <c:v>6.1745227493949448</c:v>
                </c:pt>
                <c:pt idx="226">
                  <c:v>6.198855253319997</c:v>
                </c:pt>
                <c:pt idx="227">
                  <c:v>6.2274107911145808</c:v>
                </c:pt>
                <c:pt idx="228">
                  <c:v>5.7205533982994776</c:v>
                </c:pt>
                <c:pt idx="229">
                  <c:v>5.7380075969621807</c:v>
                </c:pt>
                <c:pt idx="230">
                  <c:v>5.4732978401793417</c:v>
                </c:pt>
                <c:pt idx="231">
                  <c:v>5.5781833093094075</c:v>
                </c:pt>
                <c:pt idx="232">
                  <c:v>5.5642870453078421</c:v>
                </c:pt>
                <c:pt idx="233">
                  <c:v>5.626549965665375</c:v>
                </c:pt>
                <c:pt idx="234">
                  <c:v>5.632280234963571</c:v>
                </c:pt>
                <c:pt idx="235">
                  <c:v>5.688698473515772</c:v>
                </c:pt>
                <c:pt idx="236">
                  <c:v>5.192219158023498</c:v>
                </c:pt>
                <c:pt idx="237">
                  <c:v>4.6285695321533744</c:v>
                </c:pt>
                <c:pt idx="238">
                  <c:v>4.6111132702849353</c:v>
                </c:pt>
                <c:pt idx="239">
                  <c:v>4.643876763852532</c:v>
                </c:pt>
                <c:pt idx="240">
                  <c:v>4.2256258682584091</c:v>
                </c:pt>
                <c:pt idx="241">
                  <c:v>3.3408517360967451</c:v>
                </c:pt>
                <c:pt idx="242">
                  <c:v>2.8093545732569192</c:v>
                </c:pt>
                <c:pt idx="243">
                  <c:v>2.8093545732569192</c:v>
                </c:pt>
                <c:pt idx="244">
                  <c:v>2.9204506943388915</c:v>
                </c:pt>
                <c:pt idx="245">
                  <c:v>2.9366061898011617</c:v>
                </c:pt>
                <c:pt idx="246">
                  <c:v>2.9160291161872185</c:v>
                </c:pt>
                <c:pt idx="247">
                  <c:v>2.9534015380847367</c:v>
                </c:pt>
                <c:pt idx="248">
                  <c:v>2.9639409974827666</c:v>
                </c:pt>
                <c:pt idx="249">
                  <c:v>2.948664724229253</c:v>
                </c:pt>
                <c:pt idx="250">
                  <c:v>2.9233946978025029</c:v>
                </c:pt>
                <c:pt idx="251">
                  <c:v>2.9289067283981431</c:v>
                </c:pt>
                <c:pt idx="252">
                  <c:v>2.9501230154777631</c:v>
                </c:pt>
                <c:pt idx="253">
                  <c:v>2.9186091841650317</c:v>
                </c:pt>
                <c:pt idx="254">
                  <c:v>2.9537655937456688</c:v>
                </c:pt>
                <c:pt idx="255">
                  <c:v>3.0592711198823541</c:v>
                </c:pt>
                <c:pt idx="256">
                  <c:v>3.0844737792083192</c:v>
                </c:pt>
                <c:pt idx="257">
                  <c:v>3.5864140295562432</c:v>
                </c:pt>
                <c:pt idx="258">
                  <c:v>4.0045672849616283</c:v>
                </c:pt>
                <c:pt idx="259">
                  <c:v>4.8406877677160844</c:v>
                </c:pt>
                <c:pt idx="260">
                  <c:v>5.1600200049624716</c:v>
                </c:pt>
                <c:pt idx="261">
                  <c:v>5.3402508901635395</c:v>
                </c:pt>
                <c:pt idx="262">
                  <c:v>5.2723665902861487</c:v>
                </c:pt>
                <c:pt idx="263">
                  <c:v>5.7835510169437763</c:v>
                </c:pt>
                <c:pt idx="264">
                  <c:v>5.9148073710442288</c:v>
                </c:pt>
                <c:pt idx="265">
                  <c:v>5.9097149832116003</c:v>
                </c:pt>
                <c:pt idx="266">
                  <c:v>5.9300582963280775</c:v>
                </c:pt>
                <c:pt idx="267">
                  <c:v>6.260303335259592</c:v>
                </c:pt>
                <c:pt idx="268">
                  <c:v>6.4160417235122056</c:v>
                </c:pt>
                <c:pt idx="269">
                  <c:v>6.3842885104721141</c:v>
                </c:pt>
                <c:pt idx="270">
                  <c:v>6.6158818363932621</c:v>
                </c:pt>
                <c:pt idx="271">
                  <c:v>6.4639613008529633</c:v>
                </c:pt>
                <c:pt idx="272">
                  <c:v>6.4858821039752694</c:v>
                </c:pt>
                <c:pt idx="273">
                  <c:v>6.5584223122490712</c:v>
                </c:pt>
                <c:pt idx="274">
                  <c:v>6.3107690855879763</c:v>
                </c:pt>
                <c:pt idx="275">
                  <c:v>5.8861967201204717</c:v>
                </c:pt>
                <c:pt idx="276">
                  <c:v>5.8579970153848704</c:v>
                </c:pt>
                <c:pt idx="277">
                  <c:v>5.8462376468679329</c:v>
                </c:pt>
                <c:pt idx="278">
                  <c:v>5.9886990347680902</c:v>
                </c:pt>
                <c:pt idx="279">
                  <c:v>5.8814452177557826</c:v>
                </c:pt>
                <c:pt idx="280">
                  <c:v>5.821724239285091</c:v>
                </c:pt>
                <c:pt idx="281">
                  <c:v>5.6064479008117196</c:v>
                </c:pt>
                <c:pt idx="282">
                  <c:v>5.3227044625546256</c:v>
                </c:pt>
                <c:pt idx="283">
                  <c:v>5.2011165054462882</c:v>
                </c:pt>
                <c:pt idx="284">
                  <c:v>4.9663383019114047</c:v>
                </c:pt>
                <c:pt idx="285">
                  <c:v>4.6429504894314588</c:v>
                </c:pt>
                <c:pt idx="286">
                  <c:v>4.8899721836621168</c:v>
                </c:pt>
                <c:pt idx="287">
                  <c:v>4.8899721836621168</c:v>
                </c:pt>
                <c:pt idx="288">
                  <c:v>5.0206027141074632</c:v>
                </c:pt>
                <c:pt idx="289">
                  <c:v>5.1276186596001434</c:v>
                </c:pt>
                <c:pt idx="290">
                  <c:v>5.0246703203252041</c:v>
                </c:pt>
                <c:pt idx="291">
                  <c:v>5.024670320325205</c:v>
                </c:pt>
                <c:pt idx="292">
                  <c:v>5.1897334549409502</c:v>
                </c:pt>
                <c:pt idx="293">
                  <c:v>5.08169813290582</c:v>
                </c:pt>
                <c:pt idx="294">
                  <c:v>5.0396279091184493</c:v>
                </c:pt>
                <c:pt idx="295">
                  <c:v>5.0278792639116858</c:v>
                </c:pt>
                <c:pt idx="296">
                  <c:v>4.874996553624368</c:v>
                </c:pt>
                <c:pt idx="297">
                  <c:v>4.8712454524551019</c:v>
                </c:pt>
                <c:pt idx="298">
                  <c:v>4.7396746859918837</c:v>
                </c:pt>
                <c:pt idx="299">
                  <c:v>4.9461617572651475</c:v>
                </c:pt>
                <c:pt idx="300">
                  <c:v>5.1152313142075476</c:v>
                </c:pt>
                <c:pt idx="301">
                  <c:v>5.1152313142075476</c:v>
                </c:pt>
                <c:pt idx="302">
                  <c:v>5.3595458000464653</c:v>
                </c:pt>
                <c:pt idx="303">
                  <c:v>5.3595458000464653</c:v>
                </c:pt>
                <c:pt idx="304">
                  <c:v>5.2819432722420254</c:v>
                </c:pt>
                <c:pt idx="305">
                  <c:v>5.2137122761929167</c:v>
                </c:pt>
                <c:pt idx="306">
                  <c:v>5.3287614813135686</c:v>
                </c:pt>
                <c:pt idx="307">
                  <c:v>5.304694613852579</c:v>
                </c:pt>
                <c:pt idx="308">
                  <c:v>5.4520391765646457</c:v>
                </c:pt>
                <c:pt idx="309">
                  <c:v>5.359345169436402</c:v>
                </c:pt>
                <c:pt idx="310">
                  <c:v>5.3713697418094224</c:v>
                </c:pt>
                <c:pt idx="311">
                  <c:v>5.5323097900337457</c:v>
                </c:pt>
                <c:pt idx="312">
                  <c:v>5.5779905427155096</c:v>
                </c:pt>
                <c:pt idx="313">
                  <c:v>5.8291075323462618</c:v>
                </c:pt>
                <c:pt idx="314">
                  <c:v>5.835375986449014</c:v>
                </c:pt>
                <c:pt idx="315">
                  <c:v>5.9719775727167832</c:v>
                </c:pt>
                <c:pt idx="316">
                  <c:v>5.8922219552468045</c:v>
                </c:pt>
                <c:pt idx="317">
                  <c:v>5.5338644647279267</c:v>
                </c:pt>
                <c:pt idx="318">
                  <c:v>5.5071800640676809</c:v>
                </c:pt>
                <c:pt idx="319">
                  <c:v>5.6894544969722949</c:v>
                </c:pt>
                <c:pt idx="320">
                  <c:v>5.513229446044412</c:v>
                </c:pt>
                <c:pt idx="321">
                  <c:v>5.8250478792623603</c:v>
                </c:pt>
                <c:pt idx="322">
                  <c:v>5.9535839030219924</c:v>
                </c:pt>
                <c:pt idx="323">
                  <c:v>6.0673637789246202</c:v>
                </c:pt>
                <c:pt idx="324">
                  <c:v>6.1093969573760472</c:v>
                </c:pt>
                <c:pt idx="325">
                  <c:v>6.25755457405781</c:v>
                </c:pt>
                <c:pt idx="326">
                  <c:v>6.3767049164437459</c:v>
                </c:pt>
                <c:pt idx="327">
                  <c:v>6.6660752425835215</c:v>
                </c:pt>
                <c:pt idx="328">
                  <c:v>6.7422596001733002</c:v>
                </c:pt>
                <c:pt idx="329">
                  <c:v>6.9123545309315793</c:v>
                </c:pt>
                <c:pt idx="330">
                  <c:v>6.8322448647917415</c:v>
                </c:pt>
                <c:pt idx="331">
                  <c:v>6.7968999891395763</c:v>
                </c:pt>
                <c:pt idx="332">
                  <c:v>6.7546877390159876</c:v>
                </c:pt>
                <c:pt idx="333">
                  <c:v>6.8029089287210889</c:v>
                </c:pt>
                <c:pt idx="334">
                  <c:v>6.8029089287210889</c:v>
                </c:pt>
                <c:pt idx="335">
                  <c:v>6.8874203545148127</c:v>
                </c:pt>
                <c:pt idx="336">
                  <c:v>6.9559288550530152</c:v>
                </c:pt>
                <c:pt idx="337">
                  <c:v>7</c:v>
                </c:pt>
                <c:pt idx="338">
                  <c:v>7.057825672670476</c:v>
                </c:pt>
                <c:pt idx="339">
                  <c:v>7.057825672670476</c:v>
                </c:pt>
                <c:pt idx="340">
                  <c:v>6.9559288550530152</c:v>
                </c:pt>
                <c:pt idx="341">
                  <c:v>7.0944473213703487</c:v>
                </c:pt>
                <c:pt idx="342">
                  <c:v>6.9323924092717819</c:v>
                </c:pt>
                <c:pt idx="343">
                  <c:v>6.9078418894682638</c:v>
                </c:pt>
                <c:pt idx="344">
                  <c:v>6.7326838822318482</c:v>
                </c:pt>
                <c:pt idx="345">
                  <c:v>6.7235743182405017</c:v>
                </c:pt>
                <c:pt idx="346">
                  <c:v>6.6266000299542176</c:v>
                </c:pt>
                <c:pt idx="347">
                  <c:v>6.8750757571583652</c:v>
                </c:pt>
                <c:pt idx="348">
                  <c:v>6.802908928721088</c:v>
                </c:pt>
                <c:pt idx="349">
                  <c:v>6.7314060906313822</c:v>
                </c:pt>
                <c:pt idx="350">
                  <c:v>6.8379082508696936</c:v>
                </c:pt>
                <c:pt idx="351">
                  <c:v>6.935338833192132</c:v>
                </c:pt>
                <c:pt idx="352">
                  <c:v>6.8199580612339004</c:v>
                </c:pt>
                <c:pt idx="353">
                  <c:v>6.7502289885491651</c:v>
                </c:pt>
                <c:pt idx="354">
                  <c:v>6.6474993277042138</c:v>
                </c:pt>
                <c:pt idx="355">
                  <c:v>6.7546877390159876</c:v>
                </c:pt>
                <c:pt idx="356">
                  <c:v>6.6225421490639844</c:v>
                </c:pt>
                <c:pt idx="357">
                  <c:v>6.6974557839895166</c:v>
                </c:pt>
                <c:pt idx="358">
                  <c:v>6.6476610811218677</c:v>
                </c:pt>
                <c:pt idx="359">
                  <c:v>6.5703799336962456</c:v>
                </c:pt>
                <c:pt idx="360">
                  <c:v>6.3895075280973659</c:v>
                </c:pt>
                <c:pt idx="361">
                  <c:v>6.4857163157998396</c:v>
                </c:pt>
                <c:pt idx="362">
                  <c:v>6.6416735810328138</c:v>
                </c:pt>
                <c:pt idx="363">
                  <c:v>6.7323644570682362</c:v>
                </c:pt>
                <c:pt idx="364">
                  <c:v>6.6474993277042129</c:v>
                </c:pt>
                <c:pt idx="365">
                  <c:v>6.6426448936245039</c:v>
                </c:pt>
                <c:pt idx="366">
                  <c:v>6.6426448936245039</c:v>
                </c:pt>
                <c:pt idx="367">
                  <c:v>6.6123052444031423</c:v>
                </c:pt>
                <c:pt idx="368">
                  <c:v>6.4775874972821672</c:v>
                </c:pt>
                <c:pt idx="369">
                  <c:v>6.7003450400642786</c:v>
                </c:pt>
                <c:pt idx="370">
                  <c:v>6.4800769940998677</c:v>
                </c:pt>
                <c:pt idx="371">
                  <c:v>6.4301039306639343</c:v>
                </c:pt>
                <c:pt idx="372">
                  <c:v>6.1825282784616924</c:v>
                </c:pt>
                <c:pt idx="373">
                  <c:v>6.1825282784616933</c:v>
                </c:pt>
                <c:pt idx="374">
                  <c:v>6.495987181511798</c:v>
                </c:pt>
                <c:pt idx="375">
                  <c:v>6.6638165950829737</c:v>
                </c:pt>
                <c:pt idx="376">
                  <c:v>6.8452950642122818</c:v>
                </c:pt>
                <c:pt idx="377">
                  <c:v>6.9506710436467385</c:v>
                </c:pt>
                <c:pt idx="378">
                  <c:v>6.7910440706781214</c:v>
                </c:pt>
                <c:pt idx="379">
                  <c:v>6.8528308254750216</c:v>
                </c:pt>
                <c:pt idx="380">
                  <c:v>6.8358636804769972</c:v>
                </c:pt>
                <c:pt idx="381">
                  <c:v>6.7889853866866714</c:v>
                </c:pt>
                <c:pt idx="382">
                  <c:v>6.7610522817819749</c:v>
                </c:pt>
                <c:pt idx="383">
                  <c:v>6.5319726474218083</c:v>
                </c:pt>
                <c:pt idx="384">
                  <c:v>6.711889627041808</c:v>
                </c:pt>
                <c:pt idx="385">
                  <c:v>6.680415929360036</c:v>
                </c:pt>
                <c:pt idx="386">
                  <c:v>6.7791584468362922</c:v>
                </c:pt>
                <c:pt idx="387">
                  <c:v>6.8949100752828203</c:v>
                </c:pt>
                <c:pt idx="388">
                  <c:v>6.8476508804585805</c:v>
                </c:pt>
                <c:pt idx="389">
                  <c:v>6.9562380143169307</c:v>
                </c:pt>
                <c:pt idx="390">
                  <c:v>7.1121583010310419</c:v>
                </c:pt>
                <c:pt idx="391">
                  <c:v>7.2237660329584843</c:v>
                </c:pt>
                <c:pt idx="392">
                  <c:v>7.3885991804578461</c:v>
                </c:pt>
                <c:pt idx="393">
                  <c:v>7.4926487270014572</c:v>
                </c:pt>
                <c:pt idx="394">
                  <c:v>7.6471935958541764</c:v>
                </c:pt>
                <c:pt idx="395">
                  <c:v>7.5898914098228838</c:v>
                </c:pt>
                <c:pt idx="396">
                  <c:v>7.6174671939964984</c:v>
                </c:pt>
                <c:pt idx="397">
                  <c:v>7.4222855361839297</c:v>
                </c:pt>
                <c:pt idx="398">
                  <c:v>7.5099933422074345</c:v>
                </c:pt>
                <c:pt idx="399">
                  <c:v>7.5742915492551699</c:v>
                </c:pt>
                <c:pt idx="400">
                  <c:v>7.3301557142873115</c:v>
                </c:pt>
                <c:pt idx="401">
                  <c:v>7.3534426141481442</c:v>
                </c:pt>
                <c:pt idx="402">
                  <c:v>7.3608963923509183</c:v>
                </c:pt>
                <c:pt idx="403">
                  <c:v>7.4237340979448652</c:v>
                </c:pt>
                <c:pt idx="404">
                  <c:v>7.4687881010860639</c:v>
                </c:pt>
                <c:pt idx="405">
                  <c:v>7.1912431814411377</c:v>
                </c:pt>
                <c:pt idx="406">
                  <c:v>7.1142746099519139</c:v>
                </c:pt>
                <c:pt idx="407">
                  <c:v>6.9972344767472698</c:v>
                </c:pt>
                <c:pt idx="408">
                  <c:v>6.8603583090850497</c:v>
                </c:pt>
                <c:pt idx="409">
                  <c:v>6.8283091942012204</c:v>
                </c:pt>
                <c:pt idx="410">
                  <c:v>6.7942100587618457</c:v>
                </c:pt>
                <c:pt idx="411">
                  <c:v>6.9921615099084464</c:v>
                </c:pt>
                <c:pt idx="412">
                  <c:v>6.8419955587391641</c:v>
                </c:pt>
                <c:pt idx="413">
                  <c:v>6.6483080554378651</c:v>
                </c:pt>
                <c:pt idx="414">
                  <c:v>6.7208550403291891</c:v>
                </c:pt>
                <c:pt idx="415">
                  <c:v>6.5896628073049772</c:v>
                </c:pt>
                <c:pt idx="416">
                  <c:v>6.704195444580936</c:v>
                </c:pt>
                <c:pt idx="417">
                  <c:v>6.5359222432563016</c:v>
                </c:pt>
                <c:pt idx="418">
                  <c:v>6.3442463985560487</c:v>
                </c:pt>
                <c:pt idx="419">
                  <c:v>6.5267028017495621</c:v>
                </c:pt>
                <c:pt idx="420">
                  <c:v>6.61019089406002</c:v>
                </c:pt>
                <c:pt idx="421">
                  <c:v>6.3642144689232163</c:v>
                </c:pt>
                <c:pt idx="422">
                  <c:v>6.2341411701237766</c:v>
                </c:pt>
                <c:pt idx="423">
                  <c:v>6.071615611106508</c:v>
                </c:pt>
                <c:pt idx="424">
                  <c:v>5.8065591387893445</c:v>
                </c:pt>
                <c:pt idx="425">
                  <c:v>5.7544746497507182</c:v>
                </c:pt>
                <c:pt idx="426">
                  <c:v>5.6412459540405164</c:v>
                </c:pt>
                <c:pt idx="427">
                  <c:v>5.6412459540405155</c:v>
                </c:pt>
                <c:pt idx="428">
                  <c:v>5.6412459540405164</c:v>
                </c:pt>
                <c:pt idx="429">
                  <c:v>5.7589574922766591</c:v>
                </c:pt>
                <c:pt idx="430">
                  <c:v>5.7961796836132651</c:v>
                </c:pt>
                <c:pt idx="431">
                  <c:v>6.0132470251060068</c:v>
                </c:pt>
                <c:pt idx="432">
                  <c:v>6.1960792320194198</c:v>
                </c:pt>
                <c:pt idx="433">
                  <c:v>6.4691160420563953</c:v>
                </c:pt>
                <c:pt idx="434">
                  <c:v>6.6332495807107996</c:v>
                </c:pt>
                <c:pt idx="435">
                  <c:v>6.6040066040099061</c:v>
                </c:pt>
                <c:pt idx="436">
                  <c:v>6.6487932448605447</c:v>
                </c:pt>
                <c:pt idx="437">
                  <c:v>6.72085504032919</c:v>
                </c:pt>
                <c:pt idx="438">
                  <c:v>6.8506337513911033</c:v>
                </c:pt>
                <c:pt idx="439">
                  <c:v>6.8526739149726259</c:v>
                </c:pt>
                <c:pt idx="440">
                  <c:v>6.8589475351778706</c:v>
                </c:pt>
                <c:pt idx="441">
                  <c:v>6.8691299475668046</c:v>
                </c:pt>
                <c:pt idx="442">
                  <c:v>6.7299682850872022</c:v>
                </c:pt>
                <c:pt idx="443">
                  <c:v>6.7487951931540913</c:v>
                </c:pt>
                <c:pt idx="444">
                  <c:v>6.8500058865055937</c:v>
                </c:pt>
                <c:pt idx="445">
                  <c:v>6.823268223315849</c:v>
                </c:pt>
                <c:pt idx="446">
                  <c:v>6.8397950041594635</c:v>
                </c:pt>
                <c:pt idx="447">
                  <c:v>6.6460433697891457</c:v>
                </c:pt>
                <c:pt idx="448">
                  <c:v>6.7056387762725098</c:v>
                </c:pt>
                <c:pt idx="449">
                  <c:v>6.5787209921437704</c:v>
                </c:pt>
                <c:pt idx="450">
                  <c:v>6.7751919387166897</c:v>
                </c:pt>
                <c:pt idx="451">
                  <c:v>6.8136485418322614</c:v>
                </c:pt>
                <c:pt idx="452">
                  <c:v>6.8212192647696428</c:v>
                </c:pt>
                <c:pt idx="453">
                  <c:v>6.8689734093913009</c:v>
                </c:pt>
                <c:pt idx="454">
                  <c:v>7.1292220088599372</c:v>
                </c:pt>
                <c:pt idx="455">
                  <c:v>7.4305385555696066</c:v>
                </c:pt>
                <c:pt idx="456">
                  <c:v>7.2880812997837836</c:v>
                </c:pt>
                <c:pt idx="457">
                  <c:v>7.4335768319247926</c:v>
                </c:pt>
                <c:pt idx="458">
                  <c:v>7.3990699793379298</c:v>
                </c:pt>
                <c:pt idx="459">
                  <c:v>7.387725944000354</c:v>
                </c:pt>
                <c:pt idx="460">
                  <c:v>7.3028201946712974</c:v>
                </c:pt>
                <c:pt idx="461">
                  <c:v>7.3028201946712965</c:v>
                </c:pt>
                <c:pt idx="462">
                  <c:v>7.3028201946712974</c:v>
                </c:pt>
                <c:pt idx="463">
                  <c:v>7.1570703443502985</c:v>
                </c:pt>
                <c:pt idx="464">
                  <c:v>6.9227690401165116</c:v>
                </c:pt>
                <c:pt idx="465">
                  <c:v>6.8301985991057244</c:v>
                </c:pt>
                <c:pt idx="466">
                  <c:v>6.7809029753632606</c:v>
                </c:pt>
                <c:pt idx="467">
                  <c:v>6.9739916217174329</c:v>
                </c:pt>
                <c:pt idx="468">
                  <c:v>6.9348736915880149</c:v>
                </c:pt>
                <c:pt idx="469">
                  <c:v>6.6781621320813702</c:v>
                </c:pt>
                <c:pt idx="470">
                  <c:v>6.5821524733779677</c:v>
                </c:pt>
                <c:pt idx="471">
                  <c:v>6.6492783988795701</c:v>
                </c:pt>
                <c:pt idx="472">
                  <c:v>6.7766201490980205</c:v>
                </c:pt>
                <c:pt idx="473">
                  <c:v>6.9903158819206634</c:v>
                </c:pt>
                <c:pt idx="474">
                  <c:v>7.0715239950737079</c:v>
                </c:pt>
                <c:pt idx="475">
                  <c:v>6.9587107939602229</c:v>
                </c:pt>
                <c:pt idx="476">
                  <c:v>6.756916010910202</c:v>
                </c:pt>
                <c:pt idx="477">
                  <c:v>6.9588653135128933</c:v>
                </c:pt>
                <c:pt idx="478">
                  <c:v>6.9039493139095569</c:v>
                </c:pt>
                <c:pt idx="479">
                  <c:v>6.8857028127712887</c:v>
                </c:pt>
                <c:pt idx="480">
                  <c:v>6.8674078313859184</c:v>
                </c:pt>
                <c:pt idx="481">
                  <c:v>6.6309797521270033</c:v>
                </c:pt>
                <c:pt idx="482">
                  <c:v>6.4007728028042266</c:v>
                </c:pt>
                <c:pt idx="483">
                  <c:v>6.4519731082241289</c:v>
                </c:pt>
                <c:pt idx="484">
                  <c:v>6.4145332300284945</c:v>
                </c:pt>
                <c:pt idx="485">
                  <c:v>6.3070194722749919</c:v>
                </c:pt>
                <c:pt idx="486">
                  <c:v>6.0809945423142686</c:v>
                </c:pt>
                <c:pt idx="487">
                  <c:v>6.1799189193275321</c:v>
                </c:pt>
                <c:pt idx="488">
                  <c:v>6.1260943722786791</c:v>
                </c:pt>
                <c:pt idx="489">
                  <c:v>6.1208264253311633</c:v>
                </c:pt>
                <c:pt idx="490">
                  <c:v>6.3653970473091848</c:v>
                </c:pt>
                <c:pt idx="491">
                  <c:v>6.0549455481777725</c:v>
                </c:pt>
                <c:pt idx="492">
                  <c:v>5.8372183683300642</c:v>
                </c:pt>
                <c:pt idx="493">
                  <c:v>5.5820372432424925</c:v>
                </c:pt>
                <c:pt idx="494">
                  <c:v>5.4636629565911008</c:v>
                </c:pt>
                <c:pt idx="495">
                  <c:v>5.4070841624469796</c:v>
                </c:pt>
                <c:pt idx="496">
                  <c:v>5.5803033023516351</c:v>
                </c:pt>
                <c:pt idx="497">
                  <c:v>5.5315322888297036</c:v>
                </c:pt>
                <c:pt idx="498">
                  <c:v>5.4350515127491263</c:v>
                </c:pt>
                <c:pt idx="499">
                  <c:v>5.2723665902861478</c:v>
                </c:pt>
                <c:pt idx="500">
                  <c:v>5.3505099746890785</c:v>
                </c:pt>
                <c:pt idx="501">
                  <c:v>5.3885581689154058</c:v>
                </c:pt>
                <c:pt idx="502">
                  <c:v>5.1781177300063819</c:v>
                </c:pt>
                <c:pt idx="503">
                  <c:v>5.1171228475149135</c:v>
                </c:pt>
                <c:pt idx="504">
                  <c:v>5.2124746975998146</c:v>
                </c:pt>
                <c:pt idx="505">
                  <c:v>5.370969356452985</c:v>
                </c:pt>
                <c:pt idx="506">
                  <c:v>5.5906988810429254</c:v>
                </c:pt>
                <c:pt idx="507">
                  <c:v>5.7469954749631844</c:v>
                </c:pt>
                <c:pt idx="508">
                  <c:v>5.6236826414381618</c:v>
                </c:pt>
                <c:pt idx="509">
                  <c:v>5.53464163831012</c:v>
                </c:pt>
                <c:pt idx="510">
                  <c:v>5.6041459307287163</c:v>
                </c:pt>
                <c:pt idx="511">
                  <c:v>5.9264306834013745</c:v>
                </c:pt>
                <c:pt idx="512">
                  <c:v>5.8407172928180371</c:v>
                </c:pt>
                <c:pt idx="513">
                  <c:v>5.8651513194460723</c:v>
                </c:pt>
                <c:pt idx="514">
                  <c:v>5.7488661808735282</c:v>
                </c:pt>
                <c:pt idx="515">
                  <c:v>5.6364787299446348</c:v>
                </c:pt>
                <c:pt idx="516">
                  <c:v>5.5847334145711871</c:v>
                </c:pt>
                <c:pt idx="517">
                  <c:v>5.7335083744222342</c:v>
                </c:pt>
                <c:pt idx="518">
                  <c:v>5.8559775544548982</c:v>
                </c:pt>
                <c:pt idx="519">
                  <c:v>5.766048198546124</c:v>
                </c:pt>
                <c:pt idx="520">
                  <c:v>5.8614835363849513</c:v>
                </c:pt>
                <c:pt idx="521">
                  <c:v>5.7766679386232926</c:v>
                </c:pt>
                <c:pt idx="522">
                  <c:v>6.0307455984412313</c:v>
                </c:pt>
                <c:pt idx="523">
                  <c:v>6.0977697315432238</c:v>
                </c:pt>
                <c:pt idx="524">
                  <c:v>6.2661404491945643</c:v>
                </c:pt>
                <c:pt idx="525">
                  <c:v>6.3657348864967105</c:v>
                </c:pt>
                <c:pt idx="526">
                  <c:v>6.3999327953460758</c:v>
                </c:pt>
                <c:pt idx="527">
                  <c:v>6.2880668687790333</c:v>
                </c:pt>
                <c:pt idx="528">
                  <c:v>6.3701251654622864</c:v>
                </c:pt>
                <c:pt idx="529">
                  <c:v>6.3349177418257714</c:v>
                </c:pt>
                <c:pt idx="530">
                  <c:v>6.2683708504107809</c:v>
                </c:pt>
                <c:pt idx="531">
                  <c:v>6.2004162191196954</c:v>
                </c:pt>
                <c:pt idx="532">
                  <c:v>6.3186019959161603</c:v>
                </c:pt>
                <c:pt idx="533">
                  <c:v>6.3518687454275833</c:v>
                </c:pt>
                <c:pt idx="534">
                  <c:v>6.4494727633141595</c:v>
                </c:pt>
                <c:pt idx="535">
                  <c:v>6.2406919936125504</c:v>
                </c:pt>
                <c:pt idx="536">
                  <c:v>6.2873828256039035</c:v>
                </c:pt>
                <c:pt idx="537">
                  <c:v>6.2434481787943374</c:v>
                </c:pt>
                <c:pt idx="538">
                  <c:v>6.0977697315432247</c:v>
                </c:pt>
                <c:pt idx="539">
                  <c:v>6.3491596260441625</c:v>
                </c:pt>
                <c:pt idx="540">
                  <c:v>6.3613415775814675</c:v>
                </c:pt>
                <c:pt idx="541">
                  <c:v>6.3613415775814675</c:v>
                </c:pt>
                <c:pt idx="542">
                  <c:v>6.2115051073733119</c:v>
                </c:pt>
                <c:pt idx="543">
                  <c:v>6.1986817884110241</c:v>
                </c:pt>
                <c:pt idx="544">
                  <c:v>6.2721435686881843</c:v>
                </c:pt>
                <c:pt idx="545">
                  <c:v>6.2308631756746591</c:v>
                </c:pt>
                <c:pt idx="546">
                  <c:v>6.3231950546321709</c:v>
                </c:pt>
                <c:pt idx="547">
                  <c:v>6.5206042334964991</c:v>
                </c:pt>
                <c:pt idx="548">
                  <c:v>6.5060765641102405</c:v>
                </c:pt>
                <c:pt idx="549">
                  <c:v>6.4677861795606804</c:v>
                </c:pt>
                <c:pt idx="550">
                  <c:v>6.6931195613380146</c:v>
                </c:pt>
                <c:pt idx="551">
                  <c:v>6.6592970018718773</c:v>
                </c:pt>
                <c:pt idx="552">
                  <c:v>6.5446358236739304</c:v>
                </c:pt>
                <c:pt idx="553">
                  <c:v>6.5083899533560707</c:v>
                </c:pt>
                <c:pt idx="554">
                  <c:v>6.391358413169411</c:v>
                </c:pt>
                <c:pt idx="555">
                  <c:v>6.2443092371744662</c:v>
                </c:pt>
                <c:pt idx="556">
                  <c:v>6.3549151242608382</c:v>
                </c:pt>
                <c:pt idx="557">
                  <c:v>6.2714577887201726</c:v>
                </c:pt>
                <c:pt idx="558">
                  <c:v>6.1703418284216554</c:v>
                </c:pt>
                <c:pt idx="559">
                  <c:v>6.1762639644966422</c:v>
                </c:pt>
                <c:pt idx="560">
                  <c:v>6.1595279807982495</c:v>
                </c:pt>
                <c:pt idx="561">
                  <c:v>6.2654540121602231</c:v>
                </c:pt>
                <c:pt idx="562">
                  <c:v>6.4312743933516519</c:v>
                </c:pt>
                <c:pt idx="563">
                  <c:v>6.3807506215666869</c:v>
                </c:pt>
                <c:pt idx="564">
                  <c:v>6.3925359701007745</c:v>
                </c:pt>
                <c:pt idx="565">
                  <c:v>6.4494727633141586</c:v>
                </c:pt>
                <c:pt idx="566">
                  <c:v>6.5685794932496471</c:v>
                </c:pt>
                <c:pt idx="567">
                  <c:v>6.2628792032082581</c:v>
                </c:pt>
                <c:pt idx="568">
                  <c:v>6.2115051073733119</c:v>
                </c:pt>
                <c:pt idx="569">
                  <c:v>6.468949824195346</c:v>
                </c:pt>
                <c:pt idx="570">
                  <c:v>6.2692284857430112</c:v>
                </c:pt>
                <c:pt idx="571">
                  <c:v>6.3391597421550401</c:v>
                </c:pt>
                <c:pt idx="572">
                  <c:v>6.5098766980378295</c:v>
                </c:pt>
                <c:pt idx="573">
                  <c:v>6.7267720613672797</c:v>
                </c:pt>
                <c:pt idx="574">
                  <c:v>6.7267720613672797</c:v>
                </c:pt>
                <c:pt idx="575">
                  <c:v>6.5872147262300755</c:v>
                </c:pt>
                <c:pt idx="576">
                  <c:v>6.5594059526463919</c:v>
                </c:pt>
                <c:pt idx="577">
                  <c:v>6.5347705243911687</c:v>
                </c:pt>
                <c:pt idx="578">
                  <c:v>6.3964035593936419</c:v>
                </c:pt>
                <c:pt idx="579">
                  <c:v>6.5083899533560716</c:v>
                </c:pt>
                <c:pt idx="580">
                  <c:v>6.5083899533560716</c:v>
                </c:pt>
                <c:pt idx="581">
                  <c:v>6.3291440587277696</c:v>
                </c:pt>
                <c:pt idx="582">
                  <c:v>6.2704289781395728</c:v>
                </c:pt>
                <c:pt idx="583">
                  <c:v>6.277969673852084</c:v>
                </c:pt>
                <c:pt idx="584">
                  <c:v>6.0417899505404531</c:v>
                </c:pt>
                <c:pt idx="585">
                  <c:v>6.2372450494149749</c:v>
                </c:pt>
                <c:pt idx="586">
                  <c:v>6.3184318185101347</c:v>
                </c:pt>
                <c:pt idx="587">
                  <c:v>6.3653970473091839</c:v>
                </c:pt>
                <c:pt idx="588">
                  <c:v>6.584602436541771</c:v>
                </c:pt>
                <c:pt idx="589">
                  <c:v>6.5176352991305908</c:v>
                </c:pt>
                <c:pt idx="590">
                  <c:v>6.2904604341111847</c:v>
                </c:pt>
                <c:pt idx="591">
                  <c:v>6.2754000001028087</c:v>
                </c:pt>
                <c:pt idx="592">
                  <c:v>6.475263103385414</c:v>
                </c:pt>
                <c:pt idx="593">
                  <c:v>6.359651035263064</c:v>
                </c:pt>
                <c:pt idx="594">
                  <c:v>6.3900123681035348</c:v>
                </c:pt>
                <c:pt idx="595">
                  <c:v>6.4316087721385449</c:v>
                </c:pt>
                <c:pt idx="596">
                  <c:v>6.3528843673520647</c:v>
                </c:pt>
                <c:pt idx="597">
                  <c:v>6.2566953385265434</c:v>
                </c:pt>
                <c:pt idx="598">
                  <c:v>6.3039499479482348</c:v>
                </c:pt>
                <c:pt idx="599">
                  <c:v>6.1345136779141791</c:v>
                </c:pt>
                <c:pt idx="600">
                  <c:v>6.077280093375105</c:v>
                </c:pt>
                <c:pt idx="601">
                  <c:v>6.2774558232538142</c:v>
                </c:pt>
                <c:pt idx="602">
                  <c:v>6.3642144689232154</c:v>
                </c:pt>
                <c:pt idx="603">
                  <c:v>6.700986927792921</c:v>
                </c:pt>
                <c:pt idx="604">
                  <c:v>6.6040066040099061</c:v>
                </c:pt>
                <c:pt idx="605">
                  <c:v>6.6667204298907414</c:v>
                </c:pt>
                <c:pt idx="606">
                  <c:v>6.8528308254750216</c:v>
                </c:pt>
                <c:pt idx="607">
                  <c:v>7.1307301048319722</c:v>
                </c:pt>
                <c:pt idx="608">
                  <c:v>7.2367045312848219</c:v>
                </c:pt>
                <c:pt idx="609">
                  <c:v>7.3276615407586876</c:v>
                </c:pt>
                <c:pt idx="610">
                  <c:v>7.3614806832227968</c:v>
                </c:pt>
                <c:pt idx="611">
                  <c:v>7.573723676143767</c:v>
                </c:pt>
                <c:pt idx="612">
                  <c:v>7.4693639521355752</c:v>
                </c:pt>
                <c:pt idx="613">
                  <c:v>7.5301544344356985</c:v>
                </c:pt>
                <c:pt idx="614">
                  <c:v>7.6772250811238134</c:v>
                </c:pt>
                <c:pt idx="615">
                  <c:v>7.6733024111182475</c:v>
                </c:pt>
                <c:pt idx="616">
                  <c:v>7.3301557142873106</c:v>
                </c:pt>
                <c:pt idx="617">
                  <c:v>7.3220832572298997</c:v>
                </c:pt>
                <c:pt idx="618">
                  <c:v>6.9002103754745372</c:v>
                </c:pt>
                <c:pt idx="619">
                  <c:v>6.4677861795606804</c:v>
                </c:pt>
                <c:pt idx="620">
                  <c:v>6.4611327612996616</c:v>
                </c:pt>
                <c:pt idx="621">
                  <c:v>6.4126890338734874</c:v>
                </c:pt>
                <c:pt idx="622">
                  <c:v>6.3884977284027</c:v>
                </c:pt>
                <c:pt idx="623">
                  <c:v>6.3884977284027</c:v>
                </c:pt>
                <c:pt idx="624">
                  <c:v>6.1910445207625919</c:v>
                </c:pt>
                <c:pt idx="625">
                  <c:v>5.5862734996510168</c:v>
                </c:pt>
                <c:pt idx="626">
                  <c:v>5.2400443238706513</c:v>
                </c:pt>
                <c:pt idx="627">
                  <c:v>4.8712454524551019</c:v>
                </c:pt>
                <c:pt idx="628">
                  <c:v>4.1903627271330874</c:v>
                </c:pt>
                <c:pt idx="629">
                  <c:v>3.1876778887743096</c:v>
                </c:pt>
                <c:pt idx="630">
                  <c:v>3.0680455058239366</c:v>
                </c:pt>
                <c:pt idx="631">
                  <c:v>3.0732981128296974</c:v>
                </c:pt>
                <c:pt idx="632">
                  <c:v>3.0935242803505321</c:v>
                </c:pt>
                <c:pt idx="633">
                  <c:v>3.1643171816059237</c:v>
                </c:pt>
                <c:pt idx="634">
                  <c:v>3.1778805407350967</c:v>
                </c:pt>
                <c:pt idx="635">
                  <c:v>3.2498138904529039</c:v>
                </c:pt>
                <c:pt idx="636">
                  <c:v>3.2232355346496098</c:v>
                </c:pt>
                <c:pt idx="637">
                  <c:v>3.2524597804824444</c:v>
                </c:pt>
                <c:pt idx="638">
                  <c:v>3.2474969683034027</c:v>
                </c:pt>
                <c:pt idx="639">
                  <c:v>3.2738783682190258</c:v>
                </c:pt>
                <c:pt idx="640">
                  <c:v>3.3020033020049526</c:v>
                </c:pt>
                <c:pt idx="641">
                  <c:v>3.2905861163700463</c:v>
                </c:pt>
                <c:pt idx="642">
                  <c:v>3.1143096716901471</c:v>
                </c:pt>
                <c:pt idx="643">
                  <c:v>3.206176834248716</c:v>
                </c:pt>
                <c:pt idx="644">
                  <c:v>3.206176834248716</c:v>
                </c:pt>
                <c:pt idx="645">
                  <c:v>3.2494830027169299</c:v>
                </c:pt>
                <c:pt idx="646">
                  <c:v>3.1503541360925924</c:v>
                </c:pt>
                <c:pt idx="647">
                  <c:v>3.1077426721221686</c:v>
                </c:pt>
                <c:pt idx="648">
                  <c:v>3.0075174630120736</c:v>
                </c:pt>
                <c:pt idx="649">
                  <c:v>4.6294986839307048</c:v>
                </c:pt>
                <c:pt idx="650">
                  <c:v>5.0909998595455166</c:v>
                </c:pt>
                <c:pt idx="651">
                  <c:v>5.2178354182182582</c:v>
                </c:pt>
                <c:pt idx="652">
                  <c:v>5.9762972677284107</c:v>
                </c:pt>
                <c:pt idx="653">
                  <c:v>6.7772548126582137</c:v>
                </c:pt>
                <c:pt idx="654">
                  <c:v>6.7661396055129037</c:v>
                </c:pt>
                <c:pt idx="655">
                  <c:v>7.2947174877308614</c:v>
                </c:pt>
                <c:pt idx="656">
                  <c:v>7.2616239778508858</c:v>
                </c:pt>
                <c:pt idx="657">
                  <c:v>7.2212351131326411</c:v>
                </c:pt>
                <c:pt idx="658">
                  <c:v>7.187803289533754</c:v>
                </c:pt>
                <c:pt idx="659">
                  <c:v>7.4196774123425202</c:v>
                </c:pt>
                <c:pt idx="660">
                  <c:v>7.631006359879156</c:v>
                </c:pt>
                <c:pt idx="661">
                  <c:v>7.6111124192239146</c:v>
                </c:pt>
                <c:pt idx="662">
                  <c:v>7.526726572901782</c:v>
                </c:pt>
                <c:pt idx="663">
                  <c:v>7.5257264858473931</c:v>
                </c:pt>
                <c:pt idx="664">
                  <c:v>7.6152083260710857</c:v>
                </c:pt>
                <c:pt idx="665">
                  <c:v>7.6106885789106684</c:v>
                </c:pt>
                <c:pt idx="666">
                  <c:v>7.4228649948104817</c:v>
                </c:pt>
                <c:pt idx="667">
                  <c:v>7.2005077479270172</c:v>
                </c:pt>
                <c:pt idx="668">
                  <c:v>7.2877862178434718</c:v>
                </c:pt>
                <c:pt idx="669">
                  <c:v>7.2984016515033385</c:v>
                </c:pt>
                <c:pt idx="670">
                  <c:v>7.0648303558535108</c:v>
                </c:pt>
                <c:pt idx="671">
                  <c:v>7.0924767046816326</c:v>
                </c:pt>
                <c:pt idx="672">
                  <c:v>7.0681779678320371</c:v>
                </c:pt>
                <c:pt idx="673">
                  <c:v>6.9689017354135121</c:v>
                </c:pt>
                <c:pt idx="674">
                  <c:v>6.5456215358300849</c:v>
                </c:pt>
                <c:pt idx="675">
                  <c:v>6.5092159645473648</c:v>
                </c:pt>
                <c:pt idx="676">
                  <c:v>6.264767499912268</c:v>
                </c:pt>
                <c:pt idx="677">
                  <c:v>6.041433996261385</c:v>
                </c:pt>
                <c:pt idx="678">
                  <c:v>6.0111008420532537</c:v>
                </c:pt>
                <c:pt idx="679">
                  <c:v>5.8543247500945741</c:v>
                </c:pt>
                <c:pt idx="680">
                  <c:v>5.612390286783592</c:v>
                </c:pt>
                <c:pt idx="681">
                  <c:v>5.6826466649158798</c:v>
                </c:pt>
                <c:pt idx="682">
                  <c:v>5.688698473515772</c:v>
                </c:pt>
                <c:pt idx="683">
                  <c:v>5.5005376081338291</c:v>
                </c:pt>
                <c:pt idx="684">
                  <c:v>5.50053760813383</c:v>
                </c:pt>
                <c:pt idx="685">
                  <c:v>5.3563348084903319</c:v>
                </c:pt>
                <c:pt idx="686">
                  <c:v>5.3699682624560214</c:v>
                </c:pt>
                <c:pt idx="687">
                  <c:v>5.3769720063423474</c:v>
                </c:pt>
                <c:pt idx="688">
                  <c:v>5.4104637767542529</c:v>
                </c:pt>
                <c:pt idx="689">
                  <c:v>5.4247540948182458</c:v>
                </c:pt>
                <c:pt idx="690">
                  <c:v>5.1764562129637666</c:v>
                </c:pt>
                <c:pt idx="691">
                  <c:v>4.9730456257407214</c:v>
                </c:pt>
                <c:pt idx="692">
                  <c:v>4.9622228803207236</c:v>
                </c:pt>
                <c:pt idx="693">
                  <c:v>5.2223671145918011</c:v>
                </c:pt>
                <c:pt idx="694">
                  <c:v>5.2201017581644313</c:v>
                </c:pt>
                <c:pt idx="695">
                  <c:v>5.0330093180620006</c:v>
                </c:pt>
                <c:pt idx="696">
                  <c:v>5.2882503153547367</c:v>
                </c:pt>
                <c:pt idx="697">
                  <c:v>5.3609500040791804</c:v>
                </c:pt>
                <c:pt idx="698">
                  <c:v>5.3609500040791804</c:v>
                </c:pt>
                <c:pt idx="699">
                  <c:v>5.3973310807934434</c:v>
                </c:pt>
                <c:pt idx="700">
                  <c:v>5.3677651984607566</c:v>
                </c:pt>
                <c:pt idx="701">
                  <c:v>5.7357584268501753</c:v>
                </c:pt>
                <c:pt idx="702">
                  <c:v>5.5939675650006748</c:v>
                </c:pt>
                <c:pt idx="703">
                  <c:v>5.6187091465138401</c:v>
                </c:pt>
                <c:pt idx="704">
                  <c:v>5.7783429555390668</c:v>
                </c:pt>
                <c:pt idx="705">
                  <c:v>5.7086992661926024</c:v>
                </c:pt>
                <c:pt idx="706">
                  <c:v>5.8280006346816284</c:v>
                </c:pt>
                <c:pt idx="707">
                  <c:v>5.5803033023516351</c:v>
                </c:pt>
                <c:pt idx="708">
                  <c:v>5.620622549990558</c:v>
                </c:pt>
                <c:pt idx="709">
                  <c:v>5.7267529128408512</c:v>
                </c:pt>
                <c:pt idx="710">
                  <c:v>5.8618504179636535</c:v>
                </c:pt>
                <c:pt idx="711">
                  <c:v>5.8464215688992462</c:v>
                </c:pt>
                <c:pt idx="712">
                  <c:v>5.7798314519459151</c:v>
                </c:pt>
                <c:pt idx="713">
                  <c:v>5.7904259133559863</c:v>
                </c:pt>
                <c:pt idx="714">
                  <c:v>5.9095330310576397</c:v>
                </c:pt>
                <c:pt idx="715">
                  <c:v>5.7881971119210869</c:v>
                </c:pt>
                <c:pt idx="716">
                  <c:v>5.9153527240108312</c:v>
                </c:pt>
                <c:pt idx="717">
                  <c:v>5.6532415289766487</c:v>
                </c:pt>
                <c:pt idx="718">
                  <c:v>5.7043654288830892</c:v>
                </c:pt>
                <c:pt idx="719">
                  <c:v>5.6625538521971031</c:v>
                </c:pt>
                <c:pt idx="720">
                  <c:v>5.7139708054549407</c:v>
                </c:pt>
                <c:pt idx="721">
                  <c:v>5.9349520565863463</c:v>
                </c:pt>
                <c:pt idx="722">
                  <c:v>5.9349520565863463</c:v>
                </c:pt>
                <c:pt idx="723">
                  <c:v>5.9427375032267795</c:v>
                </c:pt>
                <c:pt idx="724">
                  <c:v>5.8331643600718897</c:v>
                </c:pt>
                <c:pt idx="725">
                  <c:v>6.1252166957498302</c:v>
                </c:pt>
                <c:pt idx="726">
                  <c:v>5.9732378064558178</c:v>
                </c:pt>
                <c:pt idx="727">
                  <c:v>5.5639005425431378</c:v>
                </c:pt>
                <c:pt idx="728">
                  <c:v>5.5553906785569849</c:v>
                </c:pt>
                <c:pt idx="729">
                  <c:v>5.706626972025548</c:v>
                </c:pt>
                <c:pt idx="730">
                  <c:v>5.3987254569147876</c:v>
                </c:pt>
                <c:pt idx="731">
                  <c:v>5.4193996413918653</c:v>
                </c:pt>
                <c:pt idx="732">
                  <c:v>5.2562303021507084</c:v>
                </c:pt>
                <c:pt idx="733">
                  <c:v>5.2949560092398267</c:v>
                </c:pt>
                <c:pt idx="734">
                  <c:v>5.3277524563890104</c:v>
                </c:pt>
                <c:pt idx="735">
                  <c:v>5.2823504054967447</c:v>
                </c:pt>
                <c:pt idx="736">
                  <c:v>5.4146356821020269</c:v>
                </c:pt>
                <c:pt idx="737">
                  <c:v>5.4042993637383958</c:v>
                </c:pt>
                <c:pt idx="738">
                  <c:v>5.6627437401551797</c:v>
                </c:pt>
                <c:pt idx="739">
                  <c:v>5.6627437401551797</c:v>
                </c:pt>
                <c:pt idx="740">
                  <c:v>5.6627437401551797</c:v>
                </c:pt>
                <c:pt idx="741">
                  <c:v>5.4514474747439756</c:v>
                </c:pt>
                <c:pt idx="742">
                  <c:v>5.4508557086928349</c:v>
                </c:pt>
                <c:pt idx="743">
                  <c:v>5.7150997884024592</c:v>
                </c:pt>
                <c:pt idx="744">
                  <c:v>5.6920997883030831</c:v>
                </c:pt>
                <c:pt idx="745">
                  <c:v>5.6075985314858787</c:v>
                </c:pt>
                <c:pt idx="746">
                  <c:v>5.8874753155659043</c:v>
                </c:pt>
                <c:pt idx="747">
                  <c:v>5.7139708054549416</c:v>
                </c:pt>
                <c:pt idx="748">
                  <c:v>5.6686271118616833</c:v>
                </c:pt>
                <c:pt idx="749">
                  <c:v>5.8128519086441512</c:v>
                </c:pt>
                <c:pt idx="750">
                  <c:v>5.8581805682218837</c:v>
                </c:pt>
                <c:pt idx="751">
                  <c:v>6.1448466038580847</c:v>
                </c:pt>
                <c:pt idx="752">
                  <c:v>6.0085959929464066</c:v>
                </c:pt>
                <c:pt idx="753">
                  <c:v>6.0085959929464066</c:v>
                </c:pt>
                <c:pt idx="754">
                  <c:v>6.1141471767471165</c:v>
                </c:pt>
                <c:pt idx="755">
                  <c:v>6.232588650819384</c:v>
                </c:pt>
                <c:pt idx="756">
                  <c:v>6.1002379646868246</c:v>
                </c:pt>
                <c:pt idx="757">
                  <c:v>6.0864736334204697</c:v>
                </c:pt>
                <c:pt idx="758">
                  <c:v>6.2668268110400094</c:v>
                </c:pt>
                <c:pt idx="759">
                  <c:v>6.3874877690685246</c:v>
                </c:pt>
                <c:pt idx="760">
                  <c:v>6.2496451512169093</c:v>
                </c:pt>
                <c:pt idx="761">
                  <c:v>6.2494730960693499</c:v>
                </c:pt>
                <c:pt idx="762">
                  <c:v>6.2287919745618074</c:v>
                </c:pt>
                <c:pt idx="763">
                  <c:v>6.2343136484032202</c:v>
                </c:pt>
                <c:pt idx="764">
                  <c:v>6.2256838809038673</c:v>
                </c:pt>
                <c:pt idx="765">
                  <c:v>6.1997225050630238</c:v>
                </c:pt>
                <c:pt idx="766">
                  <c:v>6.1663324524370635</c:v>
                </c:pt>
                <c:pt idx="767">
                  <c:v>5.9885194824261729</c:v>
                </c:pt>
                <c:pt idx="768">
                  <c:v>6.0385856066658743</c:v>
                </c:pt>
                <c:pt idx="769">
                  <c:v>5.821724239285091</c:v>
                </c:pt>
                <c:pt idx="770">
                  <c:v>5.9856459124514991</c:v>
                </c:pt>
                <c:pt idx="771">
                  <c:v>5.8739446546976941</c:v>
                </c:pt>
                <c:pt idx="772">
                  <c:v>5.9213482916813662</c:v>
                </c:pt>
                <c:pt idx="773">
                  <c:v>5.9184421082956726</c:v>
                </c:pt>
                <c:pt idx="774">
                  <c:v>5.7625039360423198</c:v>
                </c:pt>
                <c:pt idx="775">
                  <c:v>5.7639965227243586</c:v>
                </c:pt>
                <c:pt idx="776">
                  <c:v>5.9213482916813662</c:v>
                </c:pt>
                <c:pt idx="777">
                  <c:v>5.6788610095327554</c:v>
                </c:pt>
                <c:pt idx="778">
                  <c:v>5.7567165073708955</c:v>
                </c:pt>
                <c:pt idx="779">
                  <c:v>5.8280006346816293</c:v>
                </c:pt>
                <c:pt idx="780">
                  <c:v>5.6591347794175135</c:v>
                </c:pt>
                <c:pt idx="781">
                  <c:v>5.6625538521971031</c:v>
                </c:pt>
                <c:pt idx="782">
                  <c:v>5.3789714010518157</c:v>
                </c:pt>
                <c:pt idx="783">
                  <c:v>5.5941597810496972</c:v>
                </c:pt>
                <c:pt idx="784">
                  <c:v>5.5941597810496972</c:v>
                </c:pt>
                <c:pt idx="785">
                  <c:v>5.6860515998097414</c:v>
                </c:pt>
                <c:pt idx="786">
                  <c:v>5.5729762709102779</c:v>
                </c:pt>
                <c:pt idx="787">
                  <c:v>5.7716399711857669</c:v>
                </c:pt>
                <c:pt idx="788">
                  <c:v>5.7872681913213224</c:v>
                </c:pt>
                <c:pt idx="789">
                  <c:v>5.561774297230456</c:v>
                </c:pt>
                <c:pt idx="790">
                  <c:v>5.3753719551221746</c:v>
                </c:pt>
                <c:pt idx="791">
                  <c:v>5.2674696543159865</c:v>
                </c:pt>
                <c:pt idx="792">
                  <c:v>5.5797252023135808</c:v>
                </c:pt>
                <c:pt idx="793">
                  <c:v>5.7602643308523902</c:v>
                </c:pt>
                <c:pt idx="794">
                  <c:v>5.7469954749631853</c:v>
                </c:pt>
                <c:pt idx="795">
                  <c:v>5.7066269720255471</c:v>
                </c:pt>
                <c:pt idx="796">
                  <c:v>5.8008156638175796</c:v>
                </c:pt>
                <c:pt idx="797">
                  <c:v>5.8215395369820486</c:v>
                </c:pt>
                <c:pt idx="798">
                  <c:v>5.8008156638175796</c:v>
                </c:pt>
                <c:pt idx="799">
                  <c:v>5.7036113818964669</c:v>
                </c:pt>
                <c:pt idx="800">
                  <c:v>5.7086992661926033</c:v>
                </c:pt>
                <c:pt idx="801">
                  <c:v>5.4662208053163308</c:v>
                </c:pt>
                <c:pt idx="802">
                  <c:v>5.4255468977592427</c:v>
                </c:pt>
                <c:pt idx="803">
                  <c:v>5.3893562964720179</c:v>
                </c:pt>
                <c:pt idx="804">
                  <c:v>5.6507683367573049</c:v>
                </c:pt>
                <c:pt idx="805">
                  <c:v>5.6560938685158293</c:v>
                </c:pt>
                <c:pt idx="806">
                  <c:v>5.9595410085222218</c:v>
                </c:pt>
                <c:pt idx="807">
                  <c:v>5.7904259133559863</c:v>
                </c:pt>
                <c:pt idx="808">
                  <c:v>5.8348231584446992</c:v>
                </c:pt>
                <c:pt idx="809">
                  <c:v>5.7496142928138267</c:v>
                </c:pt>
                <c:pt idx="810">
                  <c:v>5.703611381896466</c:v>
                </c:pt>
                <c:pt idx="811">
                  <c:v>5.703611381896466</c:v>
                </c:pt>
                <c:pt idx="812">
                  <c:v>5.7602643308523902</c:v>
                </c:pt>
                <c:pt idx="813">
                  <c:v>5.7837369324015615</c:v>
                </c:pt>
                <c:pt idx="814">
                  <c:v>5.6095157247900342</c:v>
                </c:pt>
                <c:pt idx="815">
                  <c:v>5.744375463213176</c:v>
                </c:pt>
                <c:pt idx="816">
                  <c:v>5.5424073803621186</c:v>
                </c:pt>
                <c:pt idx="817">
                  <c:v>5.5830003110440787</c:v>
                </c:pt>
                <c:pt idx="818">
                  <c:v>5.3376326756948318</c:v>
                </c:pt>
                <c:pt idx="819">
                  <c:v>5.3336021437633496</c:v>
                </c:pt>
                <c:pt idx="820">
                  <c:v>5.5548099858136135</c:v>
                </c:pt>
                <c:pt idx="821">
                  <c:v>5.6068314706066333</c:v>
                </c:pt>
                <c:pt idx="822">
                  <c:v>5.6614143907000658</c:v>
                </c:pt>
                <c:pt idx="823">
                  <c:v>5.5241405695599433</c:v>
                </c:pt>
                <c:pt idx="824">
                  <c:v>5.6144973635367652</c:v>
                </c:pt>
                <c:pt idx="825">
                  <c:v>5.6318983983992892</c:v>
                </c:pt>
                <c:pt idx="826">
                  <c:v>5.8785193073861581</c:v>
                </c:pt>
                <c:pt idx="827">
                  <c:v>5.790054506029775</c:v>
                </c:pt>
                <c:pt idx="828">
                  <c:v>5.790054506029775</c:v>
                </c:pt>
                <c:pt idx="829">
                  <c:v>5.754848353335861</c:v>
                </c:pt>
                <c:pt idx="830">
                  <c:v>5.9496091856831725</c:v>
                </c:pt>
                <c:pt idx="831">
                  <c:v>5.9816924997270071</c:v>
                </c:pt>
                <c:pt idx="832">
                  <c:v>6.1294283969321546</c:v>
                </c:pt>
                <c:pt idx="833">
                  <c:v>6.1306562647533207</c:v>
                </c:pt>
                <c:pt idx="834">
                  <c:v>6.110100926607787</c:v>
                </c:pt>
                <c:pt idx="835">
                  <c:v>5.9559313528255089</c:v>
                </c:pt>
                <c:pt idx="836">
                  <c:v>5.9559313528255098</c:v>
                </c:pt>
                <c:pt idx="837">
                  <c:v>5.7086992661926024</c:v>
                </c:pt>
                <c:pt idx="838">
                  <c:v>5.726377375746587</c:v>
                </c:pt>
                <c:pt idx="839">
                  <c:v>5.7160404371881315</c:v>
                </c:pt>
                <c:pt idx="840">
                  <c:v>5.6860515998097414</c:v>
                </c:pt>
                <c:pt idx="841">
                  <c:v>5.7509232545366045</c:v>
                </c:pt>
                <c:pt idx="842">
                  <c:v>5.7291933039458964</c:v>
                </c:pt>
                <c:pt idx="843">
                  <c:v>5.4723154659741411</c:v>
                </c:pt>
                <c:pt idx="844">
                  <c:v>5.4801695288116896</c:v>
                </c:pt>
                <c:pt idx="845">
                  <c:v>5.5075705472861021</c:v>
                </c:pt>
                <c:pt idx="846">
                  <c:v>5.4340622243460279</c:v>
                </c:pt>
                <c:pt idx="847">
                  <c:v>5.5323097900337448</c:v>
                </c:pt>
                <c:pt idx="848">
                  <c:v>5.560227426307133</c:v>
                </c:pt>
                <c:pt idx="849">
                  <c:v>5.7779707715217068</c:v>
                </c:pt>
                <c:pt idx="850">
                  <c:v>5.9204402626177899</c:v>
                </c:pt>
                <c:pt idx="851">
                  <c:v>5.6610345192338309</c:v>
                </c:pt>
                <c:pt idx="852">
                  <c:v>5.6296068351421811</c:v>
                </c:pt>
                <c:pt idx="853">
                  <c:v>5.495061321289433</c:v>
                </c:pt>
                <c:pt idx="854">
                  <c:v>5.4328748404742448</c:v>
                </c:pt>
                <c:pt idx="855">
                  <c:v>5.1671002246117501</c:v>
                </c:pt>
                <c:pt idx="856">
                  <c:v>5.1816466847510343</c:v>
                </c:pt>
                <c:pt idx="857">
                  <c:v>5.0511363567640561</c:v>
                </c:pt>
                <c:pt idx="858">
                  <c:v>5.0511363567640553</c:v>
                </c:pt>
                <c:pt idx="859">
                  <c:v>5.2326518287853174</c:v>
                </c:pt>
                <c:pt idx="860">
                  <c:v>5.328156089289048</c:v>
                </c:pt>
                <c:pt idx="861">
                  <c:v>5.2201017581644313</c:v>
                </c:pt>
                <c:pt idx="862">
                  <c:v>5.1541819329404222</c:v>
                </c:pt>
                <c:pt idx="863">
                  <c:v>4.8502300133906751</c:v>
                </c:pt>
                <c:pt idx="864">
                  <c:v>4.7663696425993303</c:v>
                </c:pt>
                <c:pt idx="865">
                  <c:v>4.671579595166766</c:v>
                </c:pt>
                <c:pt idx="866">
                  <c:v>4.5384853709542341</c:v>
                </c:pt>
                <c:pt idx="867">
                  <c:v>4.8190928517697689</c:v>
                </c:pt>
                <c:pt idx="868">
                  <c:v>4.7888759989514593</c:v>
                </c:pt>
                <c:pt idx="869">
                  <c:v>4.7888759989514593</c:v>
                </c:pt>
                <c:pt idx="870">
                  <c:v>4.9151947860635437</c:v>
                </c:pt>
                <c:pt idx="871">
                  <c:v>5.3388412419224087</c:v>
                </c:pt>
                <c:pt idx="872">
                  <c:v>5.319066940571398</c:v>
                </c:pt>
                <c:pt idx="873">
                  <c:v>5.3220983815404708</c:v>
                </c:pt>
                <c:pt idx="874">
                  <c:v>5.3026672128177603</c:v>
                </c:pt>
                <c:pt idx="875">
                  <c:v>5.4427617910375696</c:v>
                </c:pt>
                <c:pt idx="876">
                  <c:v>5.5808813425067356</c:v>
                </c:pt>
                <c:pt idx="877">
                  <c:v>5.734070970303133</c:v>
                </c:pt>
                <c:pt idx="878">
                  <c:v>5.6068314706066342</c:v>
                </c:pt>
                <c:pt idx="879">
                  <c:v>5.5664123308069033</c:v>
                </c:pt>
                <c:pt idx="880">
                  <c:v>5.3873607558783823</c:v>
                </c:pt>
                <c:pt idx="881">
                  <c:v>5.2351171536941976</c:v>
                </c:pt>
                <c:pt idx="882">
                  <c:v>5.253570214625479</c:v>
                </c:pt>
                <c:pt idx="883">
                  <c:v>5.3255319286040024</c:v>
                </c:pt>
                <c:pt idx="884">
                  <c:v>5.5903142043382337</c:v>
                </c:pt>
                <c:pt idx="885">
                  <c:v>5.7383823729396521</c:v>
                </c:pt>
                <c:pt idx="886">
                  <c:v>6.0209312322286008</c:v>
                </c:pt>
                <c:pt idx="887">
                  <c:v>6.0323500654245823</c:v>
                </c:pt>
                <c:pt idx="888">
                  <c:v>5.9271563836041077</c:v>
                </c:pt>
                <c:pt idx="889">
                  <c:v>6.1220560184037121</c:v>
                </c:pt>
                <c:pt idx="890">
                  <c:v>6.1220560184037121</c:v>
                </c:pt>
                <c:pt idx="891">
                  <c:v>6.0259296342547231</c:v>
                </c:pt>
                <c:pt idx="892">
                  <c:v>6.1740002891069317</c:v>
                </c:pt>
                <c:pt idx="893">
                  <c:v>6.1572581525374792</c:v>
                </c:pt>
                <c:pt idx="894">
                  <c:v>6.2894347319383028</c:v>
                </c:pt>
                <c:pt idx="895">
                  <c:v>6.3557610814701961</c:v>
                </c:pt>
                <c:pt idx="896">
                  <c:v>6.2208459819531621</c:v>
                </c:pt>
                <c:pt idx="897">
                  <c:v>6.2714577887201726</c:v>
                </c:pt>
                <c:pt idx="898">
                  <c:v>6.1825282784616933</c:v>
                </c:pt>
                <c:pt idx="899">
                  <c:v>6.2757426840621138</c:v>
                </c:pt>
                <c:pt idx="900">
                  <c:v>6.2548046048746642</c:v>
                </c:pt>
                <c:pt idx="901">
                  <c:v>6.4118505875440714</c:v>
                </c:pt>
                <c:pt idx="902">
                  <c:v>6.491019437140312</c:v>
                </c:pt>
                <c:pt idx="903">
                  <c:v>6.5191199353273763</c:v>
                </c:pt>
                <c:pt idx="904">
                  <c:v>6.6588125777976765</c:v>
                </c:pt>
                <c:pt idx="905">
                  <c:v>6.6470140438338738</c:v>
                </c:pt>
                <c:pt idx="906">
                  <c:v>6.7615293809827142</c:v>
                </c:pt>
                <c:pt idx="907">
                  <c:v>6.6929589065473261</c:v>
                </c:pt>
                <c:pt idx="908">
                  <c:v>6.5855821666059464</c:v>
                </c:pt>
                <c:pt idx="909">
                  <c:v>6.5947192950606457</c:v>
                </c:pt>
                <c:pt idx="910">
                  <c:v>6.6757465049123494</c:v>
                </c:pt>
                <c:pt idx="911">
                  <c:v>6.7078833416161299</c:v>
                </c:pt>
                <c:pt idx="912">
                  <c:v>6.7155732987722496</c:v>
                </c:pt>
                <c:pt idx="913">
                  <c:v>6.6929589065473252</c:v>
                </c:pt>
                <c:pt idx="914">
                  <c:v>6.7070817973660599</c:v>
                </c:pt>
                <c:pt idx="915">
                  <c:v>6.6575206079411648</c:v>
                </c:pt>
                <c:pt idx="916">
                  <c:v>6.3687746327359287</c:v>
                </c:pt>
                <c:pt idx="917">
                  <c:v>6.4192251567384071</c:v>
                </c:pt>
                <c:pt idx="918">
                  <c:v>6.4523064143386852</c:v>
                </c:pt>
                <c:pt idx="919">
                  <c:v>6.4381256873092658</c:v>
                </c:pt>
                <c:pt idx="920">
                  <c:v>6.2258565934801817</c:v>
                </c:pt>
                <c:pt idx="921">
                  <c:v>5.9640500059203294</c:v>
                </c:pt>
                <c:pt idx="922">
                  <c:v>5.9102608060642225</c:v>
                </c:pt>
                <c:pt idx="923">
                  <c:v>6.0023292969685809</c:v>
                </c:pt>
                <c:pt idx="924">
                  <c:v>6.0205740447200711</c:v>
                </c:pt>
                <c:pt idx="925">
                  <c:v>5.9719775727167841</c:v>
                </c:pt>
                <c:pt idx="926">
                  <c:v>6.0832928264964545</c:v>
                </c:pt>
                <c:pt idx="927">
                  <c:v>6.0150349260241489</c:v>
                </c:pt>
                <c:pt idx="928">
                  <c:v>5.9912122025441557</c:v>
                </c:pt>
                <c:pt idx="929">
                  <c:v>6.195905689391016</c:v>
                </c:pt>
                <c:pt idx="930">
                  <c:v>6.1032337629810138</c:v>
                </c:pt>
                <c:pt idx="931">
                  <c:v>6.252913299509502</c:v>
                </c:pt>
                <c:pt idx="932">
                  <c:v>6.0385856066658743</c:v>
                </c:pt>
                <c:pt idx="933">
                  <c:v>5.8996992815653941</c:v>
                </c:pt>
                <c:pt idx="934">
                  <c:v>5.8022983951764031</c:v>
                </c:pt>
                <c:pt idx="935">
                  <c:v>5.6204312389555975</c:v>
                </c:pt>
                <c:pt idx="936">
                  <c:v>5.6894544969722967</c:v>
                </c:pt>
                <c:pt idx="937">
                  <c:v>5.4184074952836685</c:v>
                </c:pt>
                <c:pt idx="938">
                  <c:v>5.6619841501128398</c:v>
                </c:pt>
                <c:pt idx="939">
                  <c:v>5.8010010259631759</c:v>
                </c:pt>
                <c:pt idx="940">
                  <c:v>5.782435398669401</c:v>
                </c:pt>
                <c:pt idx="941">
                  <c:v>5.8622172765814025</c:v>
                </c:pt>
                <c:pt idx="942">
                  <c:v>5.75858405535429</c:v>
                </c:pt>
                <c:pt idx="943">
                  <c:v>5.7451241599205858</c:v>
                </c:pt>
                <c:pt idx="944">
                  <c:v>5.816550357773596</c:v>
                </c:pt>
                <c:pt idx="945">
                  <c:v>5.6767778229919221</c:v>
                </c:pt>
                <c:pt idx="946">
                  <c:v>5.6828358814868132</c:v>
                </c:pt>
                <c:pt idx="947">
                  <c:v>5.721305212391079</c:v>
                </c:pt>
                <c:pt idx="948">
                  <c:v>5.5367783031736639</c:v>
                </c:pt>
                <c:pt idx="949">
                  <c:v>5.5056178542457204</c:v>
                </c:pt>
                <c:pt idx="950">
                  <c:v>5.4946699490926987</c:v>
                </c:pt>
                <c:pt idx="951">
                  <c:v>5.6566641638306212</c:v>
                </c:pt>
                <c:pt idx="952">
                  <c:v>5.6786716605168328</c:v>
                </c:pt>
                <c:pt idx="953">
                  <c:v>5.7107708083766111</c:v>
                </c:pt>
                <c:pt idx="954">
                  <c:v>5.6494361694117803</c:v>
                </c:pt>
                <c:pt idx="955">
                  <c:v>5.641436559211928</c:v>
                </c:pt>
                <c:pt idx="956">
                  <c:v>5.4098675276448924</c:v>
                </c:pt>
                <c:pt idx="957">
                  <c:v>5.1621034305752724</c:v>
                </c:pt>
                <c:pt idx="958">
                  <c:v>5.1957385350622847</c:v>
                </c:pt>
                <c:pt idx="959">
                  <c:v>5.1257309995326414</c:v>
                </c:pt>
                <c:pt idx="960">
                  <c:v>5.0047289465021976</c:v>
                </c:pt>
                <c:pt idx="961">
                  <c:v>5.009238776329151</c:v>
                </c:pt>
                <c:pt idx="962">
                  <c:v>4.891071523210563</c:v>
                </c:pt>
                <c:pt idx="963">
                  <c:v>4.846903456669998</c:v>
                </c:pt>
                <c:pt idx="964">
                  <c:v>4.8135114493598419</c:v>
                </c:pt>
                <c:pt idx="965">
                  <c:v>4.9064364134848315</c:v>
                </c:pt>
                <c:pt idx="966">
                  <c:v>4.739447815030549</c:v>
                </c:pt>
                <c:pt idx="967">
                  <c:v>4.7112311474529855</c:v>
                </c:pt>
                <c:pt idx="968">
                  <c:v>4.735362279063609</c:v>
                </c:pt>
                <c:pt idx="969">
                  <c:v>4.8798466395785889</c:v>
                </c:pt>
                <c:pt idx="970">
                  <c:v>4.7212628163072177</c:v>
                </c:pt>
                <c:pt idx="971">
                  <c:v>4.9797439153399843</c:v>
                </c:pt>
                <c:pt idx="972">
                  <c:v>5.1895262592744364</c:v>
                </c:pt>
                <c:pt idx="973">
                  <c:v>5.1814391657103327</c:v>
                </c:pt>
                <c:pt idx="974">
                  <c:v>5.2973923388208517</c:v>
                </c:pt>
                <c:pt idx="975">
                  <c:v>5.2629767937150165</c:v>
                </c:pt>
                <c:pt idx="976">
                  <c:v>5.2375813181769439</c:v>
                </c:pt>
                <c:pt idx="977">
                  <c:v>5.1481283789792585</c:v>
                </c:pt>
                <c:pt idx="978">
                  <c:v>5.1311823450413954</c:v>
                </c:pt>
                <c:pt idx="979">
                  <c:v>5.2652237032400899</c:v>
                </c:pt>
                <c:pt idx="980">
                  <c:v>5.4281227076248246</c:v>
                </c:pt>
                <c:pt idx="981">
                  <c:v>5.5966579889395858</c:v>
                </c:pt>
                <c:pt idx="982">
                  <c:v>5.7198014853889871</c:v>
                </c:pt>
                <c:pt idx="983">
                  <c:v>5.8071146574836359</c:v>
                </c:pt>
                <c:pt idx="984">
                  <c:v>5.9046182034939623</c:v>
                </c:pt>
                <c:pt idx="985">
                  <c:v>5.8276316220726114</c:v>
                </c:pt>
                <c:pt idx="986">
                  <c:v>5.8143315706023531</c:v>
                </c:pt>
                <c:pt idx="987">
                  <c:v>5.9940831040338853</c:v>
                </c:pt>
                <c:pt idx="988">
                  <c:v>6.157607411345583</c:v>
                </c:pt>
                <c:pt idx="989">
                  <c:v>6.1324099351644152</c:v>
                </c:pt>
                <c:pt idx="990">
                  <c:v>6.1250411453522551</c:v>
                </c:pt>
                <c:pt idx="991">
                  <c:v>5.899699281565395</c:v>
                </c:pt>
                <c:pt idx="992">
                  <c:v>6.0252158306944992</c:v>
                </c:pt>
                <c:pt idx="993">
                  <c:v>6.0252158306944992</c:v>
                </c:pt>
                <c:pt idx="994">
                  <c:v>6.0203954430188871</c:v>
                </c:pt>
                <c:pt idx="995">
                  <c:v>6.0528141504415069</c:v>
                </c:pt>
                <c:pt idx="996">
                  <c:v>6.1329359385050202</c:v>
                </c:pt>
                <c:pt idx="997">
                  <c:v>6.1294283969321546</c:v>
                </c:pt>
                <c:pt idx="998">
                  <c:v>6.1790488880806196</c:v>
                </c:pt>
                <c:pt idx="999">
                  <c:v>6.2262020042598571</c:v>
                </c:pt>
                <c:pt idx="1000">
                  <c:v>5.9423756156094054</c:v>
                </c:pt>
                <c:pt idx="1001">
                  <c:v>5.9423756156094054</c:v>
                </c:pt>
                <c:pt idx="1002">
                  <c:v>5.7660481985461249</c:v>
                </c:pt>
                <c:pt idx="1003">
                  <c:v>5.5315322888297036</c:v>
                </c:pt>
                <c:pt idx="1004">
                  <c:v>5.6332347131406957</c:v>
                </c:pt>
                <c:pt idx="1005">
                  <c:v>5.6236826414381618</c:v>
                </c:pt>
                <c:pt idx="1006">
                  <c:v>5.5526802595247773</c:v>
                </c:pt>
                <c:pt idx="1007">
                  <c:v>5.8843696732626256</c:v>
                </c:pt>
                <c:pt idx="1008">
                  <c:v>5.8019277478608631</c:v>
                </c:pt>
                <c:pt idx="1009">
                  <c:v>5.9157162647249377</c:v>
                </c:pt>
                <c:pt idx="1010">
                  <c:v>5.7527926832030021</c:v>
                </c:pt>
                <c:pt idx="1011">
                  <c:v>5.702102988777356</c:v>
                </c:pt>
                <c:pt idx="1012">
                  <c:v>5.7021029887773569</c:v>
                </c:pt>
                <c:pt idx="1013">
                  <c:v>5.702102988777356</c:v>
                </c:pt>
                <c:pt idx="1014">
                  <c:v>5.5878131602603256</c:v>
                </c:pt>
                <c:pt idx="1015">
                  <c:v>5.6490554924685643</c:v>
                </c:pt>
                <c:pt idx="1016">
                  <c:v>5.807299818572802</c:v>
                </c:pt>
                <c:pt idx="1017">
                  <c:v>5.7898687934323085</c:v>
                </c:pt>
                <c:pt idx="1018">
                  <c:v>5.6726091548471693</c:v>
                </c:pt>
                <c:pt idx="1019">
                  <c:v>5.4070841624469796</c:v>
                </c:pt>
                <c:pt idx="1020">
                  <c:v>5.4245558759785037</c:v>
                </c:pt>
                <c:pt idx="1021">
                  <c:v>5.5060084482552387</c:v>
                </c:pt>
                <c:pt idx="1022">
                  <c:v>5.5225831574710398</c:v>
                </c:pt>
                <c:pt idx="1023">
                  <c:v>5.3283578942730916</c:v>
                </c:pt>
                <c:pt idx="1024">
                  <c:v>5.3468913689945072</c:v>
                </c:pt>
                <c:pt idx="1025">
                  <c:v>5.3657616280880722</c:v>
                </c:pt>
                <c:pt idx="1026">
                  <c:v>5.6446758623855313</c:v>
                </c:pt>
                <c:pt idx="1027">
                  <c:v>5.5383317235039184</c:v>
                </c:pt>
                <c:pt idx="1028">
                  <c:v>5.5157643091396222</c:v>
                </c:pt>
                <c:pt idx="1029">
                  <c:v>5.5060084482552378</c:v>
                </c:pt>
                <c:pt idx="1030">
                  <c:v>5.516933853127564</c:v>
                </c:pt>
                <c:pt idx="1031">
                  <c:v>5.6849168481071448</c:v>
                </c:pt>
                <c:pt idx="1032">
                  <c:v>5.6284607036447465</c:v>
                </c:pt>
                <c:pt idx="1033">
                  <c:v>5.7028572352077429</c:v>
                </c:pt>
                <c:pt idx="1034">
                  <c:v>5.6448663517422855</c:v>
                </c:pt>
                <c:pt idx="1035">
                  <c:v>5.5542292323590123</c:v>
                </c:pt>
                <c:pt idx="1036">
                  <c:v>5.6269321651676085</c:v>
                </c:pt>
                <c:pt idx="1037">
                  <c:v>5.6123902867835911</c:v>
                </c:pt>
                <c:pt idx="1038">
                  <c:v>5.3505099746890794</c:v>
                </c:pt>
                <c:pt idx="1039">
                  <c:v>5.3505099746890794</c:v>
                </c:pt>
                <c:pt idx="1040">
                  <c:v>5.5026875154303561</c:v>
                </c:pt>
                <c:pt idx="1041">
                  <c:v>5.5048365830832449</c:v>
                </c:pt>
                <c:pt idx="1042">
                  <c:v>5.377371944756848</c:v>
                </c:pt>
                <c:pt idx="1043">
                  <c:v>5.493691396619429</c:v>
                </c:pt>
                <c:pt idx="1044">
                  <c:v>5.4104637767542521</c:v>
                </c:pt>
                <c:pt idx="1045">
                  <c:v>5.5830003110440778</c:v>
                </c:pt>
                <c:pt idx="1046">
                  <c:v>5.5830003110440778</c:v>
                </c:pt>
                <c:pt idx="1047">
                  <c:v>5.1860026664005856</c:v>
                </c:pt>
                <c:pt idx="1048">
                  <c:v>5.33803556150706</c:v>
                </c:pt>
                <c:pt idx="1049">
                  <c:v>5.6794290187037841</c:v>
                </c:pt>
                <c:pt idx="1050">
                  <c:v>5.7218690081333179</c:v>
                </c:pt>
                <c:pt idx="1051">
                  <c:v>5.9044360942767291</c:v>
                </c:pt>
                <c:pt idx="1052">
                  <c:v>6.0134258391187183</c:v>
                </c:pt>
                <c:pt idx="1053">
                  <c:v>6.2173880350589856</c:v>
                </c:pt>
                <c:pt idx="1054">
                  <c:v>6.233623706651616</c:v>
                </c:pt>
                <c:pt idx="1055">
                  <c:v>6.4637949504366494</c:v>
                </c:pt>
                <c:pt idx="1056">
                  <c:v>6.4983041625679023</c:v>
                </c:pt>
                <c:pt idx="1057">
                  <c:v>6.0960060960091456</c:v>
                </c:pt>
                <c:pt idx="1058">
                  <c:v>6.032884792927109</c:v>
                </c:pt>
                <c:pt idx="1059">
                  <c:v>5.9856459124515</c:v>
                </c:pt>
                <c:pt idx="1060">
                  <c:v>5.9640500059203303</c:v>
                </c:pt>
                <c:pt idx="1061">
                  <c:v>5.7746200359105693</c:v>
                </c:pt>
                <c:pt idx="1062">
                  <c:v>5.2815361076029781</c:v>
                </c:pt>
                <c:pt idx="1063">
                  <c:v>5.2886569630784601</c:v>
                </c:pt>
                <c:pt idx="1064">
                  <c:v>4.8860125132432772</c:v>
                </c:pt>
                <c:pt idx="1065">
                  <c:v>4.6644387923213042</c:v>
                </c:pt>
                <c:pt idx="1066">
                  <c:v>4.6821555554211667</c:v>
                </c:pt>
                <c:pt idx="1067">
                  <c:v>3.8414826886648616</c:v>
                </c:pt>
                <c:pt idx="1068">
                  <c:v>3.7856548701247079</c:v>
                </c:pt>
                <c:pt idx="1069">
                  <c:v>2.8135616275919868</c:v>
                </c:pt>
                <c:pt idx="1070">
                  <c:v>2.5310969189075361</c:v>
                </c:pt>
                <c:pt idx="1071">
                  <c:v>2.5310969189075361</c:v>
                </c:pt>
                <c:pt idx="1072">
                  <c:v>2.5786551466978671</c:v>
                </c:pt>
                <c:pt idx="1073">
                  <c:v>2.6900853406137406</c:v>
                </c:pt>
                <c:pt idx="1074">
                  <c:v>2.8150899066984878</c:v>
                </c:pt>
                <c:pt idx="1075">
                  <c:v>2.9526732921020016</c:v>
                </c:pt>
                <c:pt idx="1076">
                  <c:v>2.9534015380847367</c:v>
                </c:pt>
                <c:pt idx="1077">
                  <c:v>2.9639409974827666</c:v>
                </c:pt>
                <c:pt idx="1078">
                  <c:v>2.7993854932439985</c:v>
                </c:pt>
                <c:pt idx="1079">
                  <c:v>2.8631886878732939</c:v>
                </c:pt>
                <c:pt idx="1080">
                  <c:v>2.9197142296457201</c:v>
                </c:pt>
                <c:pt idx="1081">
                  <c:v>2.9726350498816609</c:v>
                </c:pt>
                <c:pt idx="1082">
                  <c:v>3.0655912092719726</c:v>
                </c:pt>
                <c:pt idx="1083">
                  <c:v>3.1377000000514039</c:v>
                </c:pt>
                <c:pt idx="1084">
                  <c:v>3.1394129990325612</c:v>
                </c:pt>
                <c:pt idx="1085">
                  <c:v>3.1073966561246449</c:v>
                </c:pt>
                <c:pt idx="1086">
                  <c:v>3.0753966437077733</c:v>
                </c:pt>
                <c:pt idx="1087">
                  <c:v>3.128089870281725</c:v>
                </c:pt>
                <c:pt idx="1088">
                  <c:v>3.1920600420148673</c:v>
                </c:pt>
                <c:pt idx="1089">
                  <c:v>3.0296030472086461</c:v>
                </c:pt>
                <c:pt idx="1090">
                  <c:v>3.0437667665299619</c:v>
                </c:pt>
                <c:pt idx="1091">
                  <c:v>3.0046558853298504</c:v>
                </c:pt>
                <c:pt idx="1092">
                  <c:v>3.0103763205615759</c:v>
                </c:pt>
                <c:pt idx="1093">
                  <c:v>2.994259741213086</c:v>
                </c:pt>
                <c:pt idx="1094">
                  <c:v>3.0103763205615759</c:v>
                </c:pt>
                <c:pt idx="1095">
                  <c:v>3.03315017762062</c:v>
                </c:pt>
                <c:pt idx="1096">
                  <c:v>3.6895668073374761</c:v>
                </c:pt>
                <c:pt idx="1097">
                  <c:v>3.8862868919383202</c:v>
                </c:pt>
                <c:pt idx="1098">
                  <c:v>4.0859054878831902</c:v>
                </c:pt>
                <c:pt idx="1099">
                  <c:v>4.0618868437196509</c:v>
                </c:pt>
                <c:pt idx="1100">
                  <c:v>4.4412533346788159</c:v>
                </c:pt>
                <c:pt idx="1101">
                  <c:v>4.5637656588882063</c:v>
                </c:pt>
                <c:pt idx="1102">
                  <c:v>4.6828444622968766</c:v>
                </c:pt>
                <c:pt idx="1103">
                  <c:v>4.6653608003936267</c:v>
                </c:pt>
                <c:pt idx="1104">
                  <c:v>4.5311348242685208</c:v>
                </c:pt>
                <c:pt idx="1105">
                  <c:v>5.2915026221291814</c:v>
                </c:pt>
                <c:pt idx="1106">
                  <c:v>5.9198953783257497</c:v>
                </c:pt>
                <c:pt idx="1107">
                  <c:v>6.2382793326572079</c:v>
                </c:pt>
                <c:pt idx="1108">
                  <c:v>6.2396581102920479</c:v>
                </c:pt>
                <c:pt idx="1109">
                  <c:v>6.4180524966271779</c:v>
                </c:pt>
                <c:pt idx="1110">
                  <c:v>6.2851591711309593</c:v>
                </c:pt>
                <c:pt idx="1111">
                  <c:v>6.3138352947342753</c:v>
                </c:pt>
                <c:pt idx="1112">
                  <c:v>6.2134090170294787</c:v>
                </c:pt>
                <c:pt idx="1113">
                  <c:v>6.0098485479995647</c:v>
                </c:pt>
                <c:pt idx="1114">
                  <c:v>6.0330630248958608</c:v>
                </c:pt>
                <c:pt idx="1115">
                  <c:v>6.3964035593936446</c:v>
                </c:pt>
                <c:pt idx="1116">
                  <c:v>6.3701251654622872</c:v>
                </c:pt>
                <c:pt idx="1117">
                  <c:v>6.1778306384886816</c:v>
                </c:pt>
                <c:pt idx="1118">
                  <c:v>6.3873194269870037</c:v>
                </c:pt>
                <c:pt idx="1119">
                  <c:v>6.3873194269870028</c:v>
                </c:pt>
                <c:pt idx="1120">
                  <c:v>6.3873194269870037</c:v>
                </c:pt>
                <c:pt idx="1121">
                  <c:v>6.1359157723677562</c:v>
                </c:pt>
                <c:pt idx="1122">
                  <c:v>6.027000181084758</c:v>
                </c:pt>
                <c:pt idx="1123">
                  <c:v>5.9371257663613113</c:v>
                </c:pt>
                <c:pt idx="1124">
                  <c:v>5.8296609023646599</c:v>
                </c:pt>
                <c:pt idx="1125">
                  <c:v>5.6047215118867806</c:v>
                </c:pt>
                <c:pt idx="1126">
                  <c:v>5.5642870453078404</c:v>
                </c:pt>
                <c:pt idx="1127">
                  <c:v>5.7779707715217068</c:v>
                </c:pt>
                <c:pt idx="1128">
                  <c:v>5.7779707715217068</c:v>
                </c:pt>
                <c:pt idx="1129">
                  <c:v>6.0497933849016698</c:v>
                </c:pt>
                <c:pt idx="1130">
                  <c:v>6.1635417830844599</c:v>
                </c:pt>
                <c:pt idx="1131">
                  <c:v>6.3964035593936419</c:v>
                </c:pt>
                <c:pt idx="1132">
                  <c:v>6.4799110574010168</c:v>
                </c:pt>
                <c:pt idx="1133">
                  <c:v>6.4931725930072615</c:v>
                </c:pt>
                <c:pt idx="1134">
                  <c:v>6.3294838329359715</c:v>
                </c:pt>
                <c:pt idx="1135">
                  <c:v>6.4342831768581652</c:v>
                </c:pt>
                <c:pt idx="1136">
                  <c:v>6.5413490437239297</c:v>
                </c:pt>
                <c:pt idx="1137">
                  <c:v>6.4958216512409876</c:v>
                </c:pt>
                <c:pt idx="1138">
                  <c:v>6.7030726384024009</c:v>
                </c:pt>
                <c:pt idx="1139">
                  <c:v>6.7357176657812996</c:v>
                </c:pt>
                <c:pt idx="1140">
                  <c:v>6.7274114275944958</c:v>
                </c:pt>
                <c:pt idx="1141">
                  <c:v>6.6825080604885638</c:v>
                </c:pt>
                <c:pt idx="1142">
                  <c:v>6.6502486007376378</c:v>
                </c:pt>
                <c:pt idx="1143">
                  <c:v>6.7521402421352557</c:v>
                </c:pt>
                <c:pt idx="1144">
                  <c:v>6.9443254470091258</c:v>
                </c:pt>
                <c:pt idx="1145">
                  <c:v>7.1095876504295088</c:v>
                </c:pt>
                <c:pt idx="1146">
                  <c:v>7.1448906475600751</c:v>
                </c:pt>
                <c:pt idx="1147">
                  <c:v>7.3201739211960772</c:v>
                </c:pt>
                <c:pt idx="1148">
                  <c:v>7.5515433158800658</c:v>
                </c:pt>
                <c:pt idx="1149">
                  <c:v>7.389617825902989</c:v>
                </c:pt>
                <c:pt idx="1150">
                  <c:v>7.3119433893481594</c:v>
                </c:pt>
                <c:pt idx="1151">
                  <c:v>7.0892922436678418</c:v>
                </c:pt>
                <c:pt idx="1152">
                  <c:v>7.2851299425315608</c:v>
                </c:pt>
                <c:pt idx="1153">
                  <c:v>7.2866057705844085</c:v>
                </c:pt>
                <c:pt idx="1154">
                  <c:v>7.3990699793379289</c:v>
                </c:pt>
                <c:pt idx="1155">
                  <c:v>7.5757110458004107</c:v>
                </c:pt>
                <c:pt idx="1156">
                  <c:v>7.6194431540956211</c:v>
                </c:pt>
                <c:pt idx="1157">
                  <c:v>7.7308208747745208</c:v>
                </c:pt>
                <c:pt idx="1158">
                  <c:v>7.654501802825731</c:v>
                </c:pt>
                <c:pt idx="1159">
                  <c:v>7.7310990469090672</c:v>
                </c:pt>
                <c:pt idx="1160">
                  <c:v>7.6884216817880926</c:v>
                </c:pt>
                <c:pt idx="1161">
                  <c:v>7.4539446149391706</c:v>
                </c:pt>
                <c:pt idx="1162">
                  <c:v>7.3247261316192436</c:v>
                </c:pt>
                <c:pt idx="1163">
                  <c:v>7.1943825158901751</c:v>
                </c:pt>
                <c:pt idx="1164">
                  <c:v>7.292800987039147</c:v>
                </c:pt>
                <c:pt idx="1165">
                  <c:v>7.2992855741142995</c:v>
                </c:pt>
                <c:pt idx="1166">
                  <c:v>7.2908839825711009</c:v>
                </c:pt>
                <c:pt idx="1167">
                  <c:v>7.17717409270454</c:v>
                </c:pt>
                <c:pt idx="1168">
                  <c:v>7.112763024975763</c:v>
                </c:pt>
                <c:pt idx="1169">
                  <c:v>6.9698274457590346</c:v>
                </c:pt>
                <c:pt idx="1170">
                  <c:v>6.8641189552817403</c:v>
                </c:pt>
                <c:pt idx="1171">
                  <c:v>6.9698274457590337</c:v>
                </c:pt>
                <c:pt idx="1172">
                  <c:v>6.8201157244304627</c:v>
                </c:pt>
                <c:pt idx="1173">
                  <c:v>6.8380655001942063</c:v>
                </c:pt>
                <c:pt idx="1174">
                  <c:v>6.8078070301044651</c:v>
                </c:pt>
                <c:pt idx="1175">
                  <c:v>6.6916735293688614</c:v>
                </c:pt>
                <c:pt idx="1176">
                  <c:v>6.5158202843920296</c:v>
                </c:pt>
                <c:pt idx="1177">
                  <c:v>6.4327789610160186</c:v>
                </c:pt>
                <c:pt idx="1178">
                  <c:v>6.2455145194694097</c:v>
                </c:pt>
                <c:pt idx="1179">
                  <c:v>5.9095330310576388</c:v>
                </c:pt>
                <c:pt idx="1180">
                  <c:v>5.9240715437876004</c:v>
                </c:pt>
                <c:pt idx="1181">
                  <c:v>5.8642345887445497</c:v>
                </c:pt>
                <c:pt idx="1182">
                  <c:v>5.8061887634651743</c:v>
                </c:pt>
                <c:pt idx="1183">
                  <c:v>5.7203654293376491</c:v>
                </c:pt>
                <c:pt idx="1184">
                  <c:v>5.732195435967709</c:v>
                </c:pt>
                <c:pt idx="1185">
                  <c:v>5.5011240298140738</c:v>
                </c:pt>
                <c:pt idx="1186">
                  <c:v>5.3022616395858542</c:v>
                </c:pt>
                <c:pt idx="1187">
                  <c:v>5.3022616395858542</c:v>
                </c:pt>
                <c:pt idx="1188">
                  <c:v>5.1774947235997484</c:v>
                </c:pt>
                <c:pt idx="1189">
                  <c:v>5.0462378193097726</c:v>
                </c:pt>
                <c:pt idx="1190">
                  <c:v>5.0530518831032536</c:v>
                </c:pt>
                <c:pt idx="1191">
                  <c:v>5.0321546722215622</c:v>
                </c:pt>
                <c:pt idx="1192">
                  <c:v>5.3200776128221676</c:v>
                </c:pt>
                <c:pt idx="1193">
                  <c:v>5.5677643628300215</c:v>
                </c:pt>
                <c:pt idx="1194">
                  <c:v>5.5586801249201949</c:v>
                </c:pt>
                <c:pt idx="1195">
                  <c:v>5.4158270647888047</c:v>
                </c:pt>
                <c:pt idx="1196">
                  <c:v>5.4158270647888047</c:v>
                </c:pt>
                <c:pt idx="1197">
                  <c:v>5.4693672846704731</c:v>
                </c:pt>
                <c:pt idx="1198">
                  <c:v>5.440390561565005</c:v>
                </c:pt>
                <c:pt idx="1199">
                  <c:v>5.5437652667959645</c:v>
                </c:pt>
                <c:pt idx="1200">
                  <c:v>5.5437652667959645</c:v>
                </c:pt>
                <c:pt idx="1201">
                  <c:v>5.711900423818058</c:v>
                </c:pt>
                <c:pt idx="1202">
                  <c:v>5.7582105942134341</c:v>
                </c:pt>
                <c:pt idx="1203">
                  <c:v>5.8581805682218846</c:v>
                </c:pt>
                <c:pt idx="1204">
                  <c:v>6.0744485125139382</c:v>
                </c:pt>
                <c:pt idx="1205">
                  <c:v>5.9852866192003287</c:v>
                </c:pt>
                <c:pt idx="1206">
                  <c:v>5.8940465680410563</c:v>
                </c:pt>
                <c:pt idx="1207">
                  <c:v>5.9322337992919962</c:v>
                </c:pt>
                <c:pt idx="1208">
                  <c:v>6.0958297043918677</c:v>
                </c:pt>
                <c:pt idx="1209">
                  <c:v>6.0802872031770248</c:v>
                </c:pt>
                <c:pt idx="1210">
                  <c:v>6.3694499348937725</c:v>
                </c:pt>
                <c:pt idx="1211">
                  <c:v>6.5661235515807697</c:v>
                </c:pt>
                <c:pt idx="1212">
                  <c:v>6.5661235515807697</c:v>
                </c:pt>
                <c:pt idx="1213">
                  <c:v>6.6067739756700776</c:v>
                </c:pt>
                <c:pt idx="1214">
                  <c:v>6.5057460127794489</c:v>
                </c:pt>
                <c:pt idx="1215">
                  <c:v>6.5047542580015456</c:v>
                </c:pt>
                <c:pt idx="1216">
                  <c:v>6.4948283810216845</c:v>
                </c:pt>
                <c:pt idx="1217">
                  <c:v>6.6100282237127841</c:v>
                </c:pt>
                <c:pt idx="1218">
                  <c:v>6.4076567102279309</c:v>
                </c:pt>
                <c:pt idx="1219">
                  <c:v>6.4489725780024818</c:v>
                </c:pt>
                <c:pt idx="1220">
                  <c:v>6.5037623519915613</c:v>
                </c:pt>
                <c:pt idx="1221">
                  <c:v>6.6129556777358571</c:v>
                </c:pt>
                <c:pt idx="1222">
                  <c:v>6.7624834784048771</c:v>
                </c:pt>
                <c:pt idx="1223">
                  <c:v>6.7109283366599097</c:v>
                </c:pt>
                <c:pt idx="1224">
                  <c:v>6.5158202843920296</c:v>
                </c:pt>
                <c:pt idx="1225">
                  <c:v>6.7339614313671108</c:v>
                </c:pt>
                <c:pt idx="1226">
                  <c:v>6.8589475351778697</c:v>
                </c:pt>
                <c:pt idx="1227">
                  <c:v>6.8589475351778697</c:v>
                </c:pt>
                <c:pt idx="1228">
                  <c:v>6.808596716454268</c:v>
                </c:pt>
                <c:pt idx="1229">
                  <c:v>6.8284666645775856</c:v>
                </c:pt>
                <c:pt idx="1230">
                  <c:v>6.7815372381067078</c:v>
                </c:pt>
                <c:pt idx="1231">
                  <c:v>6.9064408150061496</c:v>
                </c:pt>
                <c:pt idx="1232">
                  <c:v>7.1991636312315697</c:v>
                </c:pt>
                <c:pt idx="1233">
                  <c:v>7.472098638569765</c:v>
                </c:pt>
                <c:pt idx="1234">
                  <c:v>7.6350915944678741</c:v>
                </c:pt>
                <c:pt idx="1235">
                  <c:v>7.5015410603135333</c:v>
                </c:pt>
                <c:pt idx="1236">
                  <c:v>7.5803934984536161</c:v>
                </c:pt>
                <c:pt idx="1237">
                  <c:v>7.6784855137550556</c:v>
                </c:pt>
                <c:pt idx="1238">
                  <c:v>7.6921968561080307</c:v>
                </c:pt>
                <c:pt idx="1239">
                  <c:v>7.7189892925774144</c:v>
                </c:pt>
                <c:pt idx="1240">
                  <c:v>7.6405820867035992</c:v>
                </c:pt>
                <c:pt idx="1241">
                  <c:v>7.7454114060818204</c:v>
                </c:pt>
                <c:pt idx="1242">
                  <c:v>7.3506637839392521</c:v>
                </c:pt>
                <c:pt idx="1243">
                  <c:v>7.3655694215196839</c:v>
                </c:pt>
                <c:pt idx="1244">
                  <c:v>7.3322091024861411</c:v>
                </c:pt>
                <c:pt idx="1245">
                  <c:v>7.3373400588895255</c:v>
                </c:pt>
                <c:pt idx="1246">
                  <c:v>7.2096112671666228</c:v>
                </c:pt>
                <c:pt idx="1247">
                  <c:v>7.2313534776194954</c:v>
                </c:pt>
                <c:pt idx="1248">
                  <c:v>6.9835444061821699</c:v>
                </c:pt>
                <c:pt idx="1249">
                  <c:v>7.0511190296216437</c:v>
                </c:pt>
                <c:pt idx="1250">
                  <c:v>7.1142746099519147</c:v>
                </c:pt>
                <c:pt idx="1251">
                  <c:v>7.1142746099519147</c:v>
                </c:pt>
                <c:pt idx="1252">
                  <c:v>6.6550974884403598</c:v>
                </c:pt>
                <c:pt idx="1253">
                  <c:v>5.8805310271514033</c:v>
                </c:pt>
                <c:pt idx="1254">
                  <c:v>4.8769812626828033</c:v>
                </c:pt>
                <c:pt idx="1255">
                  <c:v>4.8264504199166902</c:v>
                </c:pt>
                <c:pt idx="1256">
                  <c:v>4.8508950509879014</c:v>
                </c:pt>
                <c:pt idx="1257">
                  <c:v>3.7046904300893622</c:v>
                </c:pt>
                <c:pt idx="1258">
                  <c:v>3.6272564352843628</c:v>
                </c:pt>
                <c:pt idx="1259">
                  <c:v>3.6673508648057376</c:v>
                </c:pt>
                <c:pt idx="1260">
                  <c:v>3.5017660674862126</c:v>
                </c:pt>
                <c:pt idx="1261">
                  <c:v>3.31630056876116</c:v>
                </c:pt>
                <c:pt idx="1262">
                  <c:v>3.4140758600966414</c:v>
                </c:pt>
                <c:pt idx="1263">
                  <c:v>3.4140758600966414</c:v>
                </c:pt>
                <c:pt idx="1264">
                  <c:v>3.4820584691810823</c:v>
                </c:pt>
                <c:pt idx="1265">
                  <c:v>3.4913102571710746</c:v>
                </c:pt>
                <c:pt idx="1266">
                  <c:v>3.5475267774266541</c:v>
                </c:pt>
                <c:pt idx="1267">
                  <c:v>3.6594258906913759</c:v>
                </c:pt>
                <c:pt idx="1268">
                  <c:v>3.6758438428460543</c:v>
                </c:pt>
                <c:pt idx="1269">
                  <c:v>3.6216196697414351</c:v>
                </c:pt>
                <c:pt idx="1270">
                  <c:v>3.5420667073249454</c:v>
                </c:pt>
                <c:pt idx="1271">
                  <c:v>3.3837054194464673</c:v>
                </c:pt>
                <c:pt idx="1272">
                  <c:v>3.4093483122113661</c:v>
                </c:pt>
                <c:pt idx="1273">
                  <c:v>3.3514561110830803</c:v>
                </c:pt>
                <c:pt idx="1274">
                  <c:v>3.3514561110830803</c:v>
                </c:pt>
                <c:pt idx="1275">
                  <c:v>3.3101343246629469</c:v>
                </c:pt>
                <c:pt idx="1276">
                  <c:v>3.3871991791995191</c:v>
                </c:pt>
                <c:pt idx="1277">
                  <c:v>3.3871991791995195</c:v>
                </c:pt>
                <c:pt idx="1278">
                  <c:v>4.9123500278073555</c:v>
                </c:pt>
                <c:pt idx="1279">
                  <c:v>5.8528551988319872</c:v>
                </c:pt>
                <c:pt idx="1280">
                  <c:v>5.8357445093573643</c:v>
                </c:pt>
                <c:pt idx="1281">
                  <c:v>5.8478927369066538</c:v>
                </c:pt>
                <c:pt idx="1282">
                  <c:v>5.9885194824261747</c:v>
                </c:pt>
                <c:pt idx="1283">
                  <c:v>6.5380606114611526</c:v>
                </c:pt>
                <c:pt idx="1284">
                  <c:v>7.1027784961655254</c:v>
                </c:pt>
                <c:pt idx="1285">
                  <c:v>7.4723864420802633</c:v>
                </c:pt>
                <c:pt idx="1286">
                  <c:v>7.3931092590417613</c:v>
                </c:pt>
                <c:pt idx="1287">
                  <c:v>7.5117112864921065</c:v>
                </c:pt>
                <c:pt idx="1288">
                  <c:v>7.5937155680886717</c:v>
                </c:pt>
                <c:pt idx="1289">
                  <c:v>7.5275836846249851</c:v>
                </c:pt>
                <c:pt idx="1290">
                  <c:v>7.5301544344356994</c:v>
                </c:pt>
                <c:pt idx="1291">
                  <c:v>7.6440995587784011</c:v>
                </c:pt>
                <c:pt idx="1292">
                  <c:v>7.6088516647332511</c:v>
                </c:pt>
                <c:pt idx="1293">
                  <c:v>7.4156185075462426</c:v>
                </c:pt>
                <c:pt idx="1294">
                  <c:v>7.2430908865896368</c:v>
                </c:pt>
                <c:pt idx="1295">
                  <c:v>7.0216255814769566</c:v>
                </c:pt>
                <c:pt idx="1296">
                  <c:v>7.2743473268918155</c:v>
                </c:pt>
                <c:pt idx="1297">
                  <c:v>7.2151274774690588</c:v>
                </c:pt>
                <c:pt idx="1298">
                  <c:v>7.3028201946712983</c:v>
                </c:pt>
                <c:pt idx="1299">
                  <c:v>7.0774517010464422</c:v>
                </c:pt>
                <c:pt idx="1300">
                  <c:v>6.8419955587391659</c:v>
                </c:pt>
                <c:pt idx="1301">
                  <c:v>7.0707636733758239</c:v>
                </c:pt>
                <c:pt idx="1302">
                  <c:v>7.0939926122597337</c:v>
                </c:pt>
                <c:pt idx="1303">
                  <c:v>6.8534584315598117</c:v>
                </c:pt>
                <c:pt idx="1304">
                  <c:v>6.8185389284127114</c:v>
                </c:pt>
                <c:pt idx="1305">
                  <c:v>6.6668817169616119</c:v>
                </c:pt>
                <c:pt idx="1306">
                  <c:v>6.5149951105371198</c:v>
                </c:pt>
                <c:pt idx="1307">
                  <c:v>6.4898597496319193</c:v>
                </c:pt>
                <c:pt idx="1308">
                  <c:v>6.5551424449143969</c:v>
                </c:pt>
                <c:pt idx="1309">
                  <c:v>6.4662897573342972</c:v>
                </c:pt>
                <c:pt idx="1310">
                  <c:v>6.3250653445559939</c:v>
                </c:pt>
                <c:pt idx="1311">
                  <c:v>6.3250653445559939</c:v>
                </c:pt>
                <c:pt idx="1312">
                  <c:v>6.3080423151293425</c:v>
                </c:pt>
                <c:pt idx="1313">
                  <c:v>6.3175808627186756</c:v>
                </c:pt>
                <c:pt idx="1314">
                  <c:v>6.2203274124662915</c:v>
                </c:pt>
                <c:pt idx="1315">
                  <c:v>6.1865271582342451</c:v>
                </c:pt>
                <c:pt idx="1316">
                  <c:v>6.3083832258932384</c:v>
                </c:pt>
                <c:pt idx="1317">
                  <c:v>6.0997091416643157</c:v>
                </c:pt>
                <c:pt idx="1318">
                  <c:v>6.4024524870913622</c:v>
                </c:pt>
                <c:pt idx="1319">
                  <c:v>6.3701251654622864</c:v>
                </c:pt>
                <c:pt idx="1320">
                  <c:v>6.4172147510653197</c:v>
                </c:pt>
                <c:pt idx="1321">
                  <c:v>6.2762566749187663</c:v>
                </c:pt>
                <c:pt idx="1322">
                  <c:v>6.2762566749187663</c:v>
                </c:pt>
                <c:pt idx="1323">
                  <c:v>6.3701251654622855</c:v>
                </c:pt>
                <c:pt idx="1324">
                  <c:v>6.5215935779300844</c:v>
                </c:pt>
                <c:pt idx="1325">
                  <c:v>6.5896628073049763</c:v>
                </c:pt>
                <c:pt idx="1326">
                  <c:v>6.7099669085606157</c:v>
                </c:pt>
                <c:pt idx="1327">
                  <c:v>6.5533378181763062</c:v>
                </c:pt>
                <c:pt idx="1328">
                  <c:v>6.5533378181763045</c:v>
                </c:pt>
                <c:pt idx="1329">
                  <c:v>6.6066112211902546</c:v>
                </c:pt>
                <c:pt idx="1330">
                  <c:v>6.6610729220688079</c:v>
                </c:pt>
                <c:pt idx="1331">
                  <c:v>6.5459500735639145</c:v>
                </c:pt>
                <c:pt idx="1332">
                  <c:v>6.2432759528676876</c:v>
                </c:pt>
                <c:pt idx="1333">
                  <c:v>6.1039384430160366</c:v>
                </c:pt>
                <c:pt idx="1334">
                  <c:v>6.2788259980651224</c:v>
                </c:pt>
                <c:pt idx="1335">
                  <c:v>6.1743486008777717</c:v>
                </c:pt>
                <c:pt idx="1336">
                  <c:v>5.9815127370637544</c:v>
                </c:pt>
                <c:pt idx="1337">
                  <c:v>5.9815127370637535</c:v>
                </c:pt>
                <c:pt idx="1338">
                  <c:v>5.9685555969579855</c:v>
                </c:pt>
                <c:pt idx="1339">
                  <c:v>5.9541257043520517</c:v>
                </c:pt>
                <c:pt idx="1340">
                  <c:v>6.0380513840252332</c:v>
                </c:pt>
                <c:pt idx="1341">
                  <c:v>6.0030458218961602</c:v>
                </c:pt>
                <c:pt idx="1342">
                  <c:v>5.9860051841370918</c:v>
                </c:pt>
                <c:pt idx="1343">
                  <c:v>5.981692499727008</c:v>
                </c:pt>
                <c:pt idx="1344">
                  <c:v>6.0060900991884809</c:v>
                </c:pt>
                <c:pt idx="1345">
                  <c:v>6.0075221664713956</c:v>
                </c:pt>
                <c:pt idx="1346">
                  <c:v>5.8015570768655742</c:v>
                </c:pt>
                <c:pt idx="1347">
                  <c:v>5.6903993850423484</c:v>
                </c:pt>
                <c:pt idx="1348">
                  <c:v>5.7893116198955861</c:v>
                </c:pt>
                <c:pt idx="1349">
                  <c:v>5.5639005425431378</c:v>
                </c:pt>
                <c:pt idx="1350">
                  <c:v>5.5613876198359442</c:v>
                </c:pt>
                <c:pt idx="1351">
                  <c:v>5.7469954749631853</c:v>
                </c:pt>
                <c:pt idx="1352">
                  <c:v>5.8102615935038795</c:v>
                </c:pt>
                <c:pt idx="1353">
                  <c:v>6.1111567284058248</c:v>
                </c:pt>
                <c:pt idx="1354">
                  <c:v>5.9463551680795392</c:v>
                </c:pt>
                <c:pt idx="1355">
                  <c:v>5.6091323385527136</c:v>
                </c:pt>
                <c:pt idx="1356">
                  <c:v>5.5081562202098588</c:v>
                </c:pt>
                <c:pt idx="1357">
                  <c:v>5.4080783858924413</c:v>
                </c:pt>
                <c:pt idx="1358">
                  <c:v>5.7720125634182446</c:v>
                </c:pt>
                <c:pt idx="1359">
                  <c:v>5.7720125634182446</c:v>
                </c:pt>
                <c:pt idx="1360">
                  <c:v>5.7985908558871859</c:v>
                </c:pt>
                <c:pt idx="1361">
                  <c:v>5.7299439844134721</c:v>
                </c:pt>
                <c:pt idx="1362">
                  <c:v>5.8178442595137412</c:v>
                </c:pt>
                <c:pt idx="1363">
                  <c:v>5.8559775544548982</c:v>
                </c:pt>
                <c:pt idx="1364">
                  <c:v>5.8618504179636535</c:v>
                </c:pt>
                <c:pt idx="1365">
                  <c:v>5.6568542494923806</c:v>
                </c:pt>
                <c:pt idx="1366">
                  <c:v>5.8276316220726114</c:v>
                </c:pt>
                <c:pt idx="1367">
                  <c:v>6.0107430703752849</c:v>
                </c:pt>
                <c:pt idx="1368">
                  <c:v>5.9213482916813662</c:v>
                </c:pt>
                <c:pt idx="1369">
                  <c:v>6.1195965851999921</c:v>
                </c:pt>
                <c:pt idx="1370">
                  <c:v>5.9852866192003287</c:v>
                </c:pt>
                <c:pt idx="1371">
                  <c:v>5.8302142198603955</c:v>
                </c:pt>
                <c:pt idx="1372">
                  <c:v>5.9843882916975284</c:v>
                </c:pt>
                <c:pt idx="1373">
                  <c:v>5.8447660622629423</c:v>
                </c:pt>
                <c:pt idx="1374">
                  <c:v>6.0634636469471372</c:v>
                </c:pt>
                <c:pt idx="1375">
                  <c:v>6.2709434045281975</c:v>
                </c:pt>
                <c:pt idx="1376">
                  <c:v>6.2709434045281975</c:v>
                </c:pt>
                <c:pt idx="1377">
                  <c:v>6.22274703367904</c:v>
                </c:pt>
                <c:pt idx="1378">
                  <c:v>6.5034316830358101</c:v>
                </c:pt>
                <c:pt idx="1379">
                  <c:v>6.413527370592047</c:v>
                </c:pt>
                <c:pt idx="1380">
                  <c:v>6.391358413169411</c:v>
                </c:pt>
                <c:pt idx="1381">
                  <c:v>6.4549722436790278</c:v>
                </c:pt>
                <c:pt idx="1382">
                  <c:v>6.2353484178891811</c:v>
                </c:pt>
                <c:pt idx="1383">
                  <c:v>6.3670860639884985</c:v>
                </c:pt>
                <c:pt idx="1384">
                  <c:v>6.1348642315690203</c:v>
                </c:pt>
                <c:pt idx="1385">
                  <c:v>6.1176634797619363</c:v>
                </c:pt>
                <c:pt idx="1386">
                  <c:v>6.1294283969321546</c:v>
                </c:pt>
                <c:pt idx="1387">
                  <c:v>6.2460309978262556</c:v>
                </c:pt>
                <c:pt idx="1388">
                  <c:v>6.1453715427018292</c:v>
                </c:pt>
                <c:pt idx="1389">
                  <c:v>5.9874420553013614</c:v>
                </c:pt>
                <c:pt idx="1390">
                  <c:v>6.0756874915209114</c:v>
                </c:pt>
                <c:pt idx="1391">
                  <c:v>6.1773084579731199</c:v>
                </c:pt>
                <c:pt idx="1392">
                  <c:v>6.1037622806343492</c:v>
                </c:pt>
                <c:pt idx="1393">
                  <c:v>6.1745227493949431</c:v>
                </c:pt>
                <c:pt idx="1394">
                  <c:v>6.2472359479410837</c:v>
                </c:pt>
                <c:pt idx="1395">
                  <c:v>6.408327915038889</c:v>
                </c:pt>
                <c:pt idx="1396">
                  <c:v>6.3952267146038553</c:v>
                </c:pt>
                <c:pt idx="1397">
                  <c:v>6.2379345906308794</c:v>
                </c:pt>
                <c:pt idx="1398">
                  <c:v>6.2379345906308794</c:v>
                </c:pt>
                <c:pt idx="1399">
                  <c:v>6.4503063193078836</c:v>
                </c:pt>
                <c:pt idx="1400">
                  <c:v>6.3675926816293602</c:v>
                </c:pt>
                <c:pt idx="1401">
                  <c:v>6.393208762395445</c:v>
                </c:pt>
                <c:pt idx="1402">
                  <c:v>6.5566185882532437</c:v>
                </c:pt>
                <c:pt idx="1403">
                  <c:v>6.4068176053292634</c:v>
                </c:pt>
                <c:pt idx="1404">
                  <c:v>6.3022440106594155</c:v>
                </c:pt>
                <c:pt idx="1405">
                  <c:v>6.0462376108876024</c:v>
                </c:pt>
                <c:pt idx="1406">
                  <c:v>5.8878405775518976</c:v>
                </c:pt>
                <c:pt idx="1407">
                  <c:v>5.9696364327976408</c:v>
                </c:pt>
                <c:pt idx="1408">
                  <c:v>6.0369827969212055</c:v>
                </c:pt>
                <c:pt idx="1409">
                  <c:v>5.791354327464048</c:v>
                </c:pt>
                <c:pt idx="1410">
                  <c:v>6.0046576903679227</c:v>
                </c:pt>
                <c:pt idx="1411">
                  <c:v>6.1111567284058248</c:v>
                </c:pt>
                <c:pt idx="1412">
                  <c:v>6.2914859690636469</c:v>
                </c:pt>
                <c:pt idx="1413">
                  <c:v>6.4103411077944648</c:v>
                </c:pt>
                <c:pt idx="1414">
                  <c:v>6.2986600384184808</c:v>
                </c:pt>
                <c:pt idx="1415">
                  <c:v>6.2256838809038673</c:v>
                </c:pt>
                <c:pt idx="1416">
                  <c:v>6.231208308927517</c:v>
                </c:pt>
                <c:pt idx="1417">
                  <c:v>6.4347845039988112</c:v>
                </c:pt>
                <c:pt idx="1418">
                  <c:v>6.5278559440145765</c:v>
                </c:pt>
                <c:pt idx="1419">
                  <c:v>6.5031009972662392</c:v>
                </c:pt>
                <c:pt idx="1420">
                  <c:v>6.3686057960079649</c:v>
                </c:pt>
                <c:pt idx="1421">
                  <c:v>6.3686057960079658</c:v>
                </c:pt>
                <c:pt idx="1422">
                  <c:v>6.2873828256039026</c:v>
                </c:pt>
                <c:pt idx="1423">
                  <c:v>6.4799110574010168</c:v>
                </c:pt>
                <c:pt idx="1424">
                  <c:v>6.5037623519915613</c:v>
                </c:pt>
                <c:pt idx="1425">
                  <c:v>6.5643219437079079</c:v>
                </c:pt>
                <c:pt idx="1426">
                  <c:v>6.4754291591908339</c:v>
                </c:pt>
                <c:pt idx="1427">
                  <c:v>6.606936726140626</c:v>
                </c:pt>
                <c:pt idx="1428">
                  <c:v>6.5922730917437757</c:v>
                </c:pt>
                <c:pt idx="1429">
                  <c:v>6.5922730917437748</c:v>
                </c:pt>
                <c:pt idx="1430">
                  <c:v>6.4377916470108438</c:v>
                </c:pt>
                <c:pt idx="1431">
                  <c:v>6.2969526680153631</c:v>
                </c:pt>
                <c:pt idx="1432">
                  <c:v>6.2897766512476938</c:v>
                </c:pt>
                <c:pt idx="1433">
                  <c:v>6.2487848281051406</c:v>
                </c:pt>
                <c:pt idx="1434">
                  <c:v>6.2925113368774461</c:v>
                </c:pt>
                <c:pt idx="1435">
                  <c:v>6.3861409081639238</c:v>
                </c:pt>
                <c:pt idx="1436">
                  <c:v>6.5510403015290688</c:v>
                </c:pt>
                <c:pt idx="1437">
                  <c:v>6.445637017327285</c:v>
                </c:pt>
                <c:pt idx="1438">
                  <c:v>6.3528843673520647</c:v>
                </c:pt>
                <c:pt idx="1439">
                  <c:v>6.2525693643424693</c:v>
                </c:pt>
                <c:pt idx="1440">
                  <c:v>6.3070194722749919</c:v>
                </c:pt>
                <c:pt idx="1441">
                  <c:v>6.1610989104985361</c:v>
                </c:pt>
                <c:pt idx="1442">
                  <c:v>6.232588650819384</c:v>
                </c:pt>
                <c:pt idx="1443">
                  <c:v>6.046593282384773</c:v>
                </c:pt>
                <c:pt idx="1444">
                  <c:v>6.0519258465064585</c:v>
                </c:pt>
                <c:pt idx="1445">
                  <c:v>6.2615055388383407</c:v>
                </c:pt>
                <c:pt idx="1446">
                  <c:v>6.392367760962899</c:v>
                </c:pt>
                <c:pt idx="1447">
                  <c:v>6.4451365343363012</c:v>
                </c:pt>
                <c:pt idx="1448">
                  <c:v>6.4451365343363021</c:v>
                </c:pt>
                <c:pt idx="1449">
                  <c:v>6.3391597421550383</c:v>
                </c:pt>
                <c:pt idx="1450">
                  <c:v>6.5849290294262595</c:v>
                </c:pt>
                <c:pt idx="1451">
                  <c:v>6.7274114275944967</c:v>
                </c:pt>
                <c:pt idx="1452">
                  <c:v>6.7128507797654668</c:v>
                </c:pt>
                <c:pt idx="1453">
                  <c:v>6.8220073985767975</c:v>
                </c:pt>
                <c:pt idx="1454">
                  <c:v>6.6757465049123521</c:v>
                </c:pt>
                <c:pt idx="1455">
                  <c:v>6.415538931761402</c:v>
                </c:pt>
                <c:pt idx="1456">
                  <c:v>6.2566953385265434</c:v>
                </c:pt>
                <c:pt idx="1457">
                  <c:v>6.2913150581806301</c:v>
                </c:pt>
                <c:pt idx="1458">
                  <c:v>6.1896549142088073</c:v>
                </c:pt>
                <c:pt idx="1459">
                  <c:v>6.1896549142088073</c:v>
                </c:pt>
                <c:pt idx="1460">
                  <c:v>6.0426797445027374</c:v>
                </c:pt>
                <c:pt idx="1461">
                  <c:v>6.001971002427327</c:v>
                </c:pt>
                <c:pt idx="1462">
                  <c:v>6.0645275680514388</c:v>
                </c:pt>
                <c:pt idx="1463">
                  <c:v>6.2393134444475935</c:v>
                </c:pt>
                <c:pt idx="1464">
                  <c:v>6.4439685895258441</c:v>
                </c:pt>
                <c:pt idx="1465">
                  <c:v>6.4178849562630802</c:v>
                </c:pt>
                <c:pt idx="1466">
                  <c:v>6.3915266488708165</c:v>
                </c:pt>
                <c:pt idx="1467">
                  <c:v>6.2702574932978683</c:v>
                </c:pt>
                <c:pt idx="1468">
                  <c:v>6.3242152813397468</c:v>
                </c:pt>
                <c:pt idx="1469">
                  <c:v>6.2827635861593496</c:v>
                </c:pt>
                <c:pt idx="1470">
                  <c:v>6.3030970370179542</c:v>
                </c:pt>
                <c:pt idx="1471">
                  <c:v>6.2911441426544927</c:v>
                </c:pt>
                <c:pt idx="1472">
                  <c:v>6.6048206572153427</c:v>
                </c:pt>
                <c:pt idx="1473">
                  <c:v>6.6722020030790787</c:v>
                </c:pt>
                <c:pt idx="1474">
                  <c:v>6.7919940220600115</c:v>
                </c:pt>
                <c:pt idx="1475">
                  <c:v>6.6866903589884616</c:v>
                </c:pt>
                <c:pt idx="1476">
                  <c:v>6.5344414245735507</c:v>
                </c:pt>
                <c:pt idx="1477">
                  <c:v>6.3687746327359287</c:v>
                </c:pt>
                <c:pt idx="1478">
                  <c:v>6.5367447753499235</c:v>
                </c:pt>
                <c:pt idx="1479">
                  <c:v>6.2815654510742016</c:v>
                </c:pt>
                <c:pt idx="1480">
                  <c:v>6.249473096069349</c:v>
                </c:pt>
                <c:pt idx="1481">
                  <c:v>6.0037622613093689</c:v>
                </c:pt>
                <c:pt idx="1482">
                  <c:v>5.890944390032181</c:v>
                </c:pt>
                <c:pt idx="1483">
                  <c:v>5.7361333497794149</c:v>
                </c:pt>
                <c:pt idx="1484">
                  <c:v>5.7720125634182446</c:v>
                </c:pt>
                <c:pt idx="1485">
                  <c:v>6.1654605039531667</c:v>
                </c:pt>
                <c:pt idx="1486">
                  <c:v>6.1727810431321481</c:v>
                </c:pt>
                <c:pt idx="1487">
                  <c:v>6.286014515941214</c:v>
                </c:pt>
                <c:pt idx="1488">
                  <c:v>6.2513654422432481</c:v>
                </c:pt>
                <c:pt idx="1489">
                  <c:v>6.2608185936317939</c:v>
                </c:pt>
                <c:pt idx="1490">
                  <c:v>6.259444477051483</c:v>
                </c:pt>
                <c:pt idx="1491">
                  <c:v>6.0870036063095778</c:v>
                </c:pt>
                <c:pt idx="1492">
                  <c:v>6.1371423422495468</c:v>
                </c:pt>
                <c:pt idx="1493">
                  <c:v>6.1790488880806196</c:v>
                </c:pt>
                <c:pt idx="1494">
                  <c:v>6.0604481895371816</c:v>
                </c:pt>
                <c:pt idx="1495">
                  <c:v>5.7664211520860853</c:v>
                </c:pt>
                <c:pt idx="1496">
                  <c:v>5.7600776577799637</c:v>
                </c:pt>
                <c:pt idx="1497">
                  <c:v>5.7049308987173353</c:v>
                </c:pt>
                <c:pt idx="1498">
                  <c:v>5.7049308987173353</c:v>
                </c:pt>
                <c:pt idx="1499">
                  <c:v>5.8006302957486433</c:v>
                </c:pt>
                <c:pt idx="1500">
                  <c:v>5.8239402100204014</c:v>
                </c:pt>
                <c:pt idx="1501">
                  <c:v>5.8966000774275242</c:v>
                </c:pt>
                <c:pt idx="1502">
                  <c:v>5.9296956349024068</c:v>
                </c:pt>
                <c:pt idx="1503">
                  <c:v>5.8364814853670399</c:v>
                </c:pt>
                <c:pt idx="1504">
                  <c:v>5.6966317156040382</c:v>
                </c:pt>
                <c:pt idx="1505">
                  <c:v>5.6500071367354296</c:v>
                </c:pt>
                <c:pt idx="1506">
                  <c:v>5.6500071367354305</c:v>
                </c:pt>
                <c:pt idx="1507">
                  <c:v>5.4431568955200369</c:v>
                </c:pt>
                <c:pt idx="1508">
                  <c:v>5.6847277008013366</c:v>
                </c:pt>
                <c:pt idx="1509">
                  <c:v>5.6031864974076298</c:v>
                </c:pt>
                <c:pt idx="1510">
                  <c:v>5.5239459170617939</c:v>
                </c:pt>
                <c:pt idx="1511">
                  <c:v>5.30955721783487</c:v>
                </c:pt>
                <c:pt idx="1512">
                  <c:v>5.5338644647279258</c:v>
                </c:pt>
                <c:pt idx="1513">
                  <c:v>5.7548483533358619</c:v>
                </c:pt>
                <c:pt idx="1514">
                  <c:v>5.7128415993956061</c:v>
                </c:pt>
                <c:pt idx="1515">
                  <c:v>5.6324711435386599</c:v>
                </c:pt>
                <c:pt idx="1516">
                  <c:v>5.3601476468189686</c:v>
                </c:pt>
                <c:pt idx="1517">
                  <c:v>5.4768329283200865</c:v>
                </c:pt>
                <c:pt idx="1518">
                  <c:v>5.3464891505135537</c:v>
                </c:pt>
                <c:pt idx="1519">
                  <c:v>5.5065942873214562</c:v>
                </c:pt>
                <c:pt idx="1520">
                  <c:v>5.7107708083766111</c:v>
                </c:pt>
                <c:pt idx="1521">
                  <c:v>5.857629892455587</c:v>
                </c:pt>
                <c:pt idx="1522">
                  <c:v>5.8642345887445506</c:v>
                </c:pt>
                <c:pt idx="1523">
                  <c:v>5.9284261452041198</c:v>
                </c:pt>
                <c:pt idx="1524">
                  <c:v>5.8635011009882421</c:v>
                </c:pt>
                <c:pt idx="1525">
                  <c:v>5.8405331911555178</c:v>
                </c:pt>
                <c:pt idx="1526">
                  <c:v>6.0701986646202117</c:v>
                </c:pt>
                <c:pt idx="1527">
                  <c:v>6.0604481895371816</c:v>
                </c:pt>
                <c:pt idx="1528">
                  <c:v>6.1099249419038628</c:v>
                </c:pt>
                <c:pt idx="1529">
                  <c:v>5.9472592404500322</c:v>
                </c:pt>
                <c:pt idx="1530">
                  <c:v>5.8865620614434881</c:v>
                </c:pt>
                <c:pt idx="1531">
                  <c:v>6.2348310546132604</c:v>
                </c:pt>
                <c:pt idx="1532">
                  <c:v>6.149219724957506</c:v>
                </c:pt>
                <c:pt idx="1533">
                  <c:v>6.1021765903474927</c:v>
                </c:pt>
                <c:pt idx="1534">
                  <c:v>6.0378732993078472</c:v>
                </c:pt>
                <c:pt idx="1535">
                  <c:v>6.0655913025411099</c:v>
                </c:pt>
                <c:pt idx="1536">
                  <c:v>5.9311461475549496</c:v>
                </c:pt>
                <c:pt idx="1537">
                  <c:v>5.9316899983528426</c:v>
                </c:pt>
                <c:pt idx="1538">
                  <c:v>6.2274107911145808</c:v>
                </c:pt>
                <c:pt idx="1539">
                  <c:v>6.0608030271023772</c:v>
                </c:pt>
                <c:pt idx="1540">
                  <c:v>5.9894171903090774</c:v>
                </c:pt>
                <c:pt idx="1541">
                  <c:v>6.0094907017669703</c:v>
                </c:pt>
                <c:pt idx="1542">
                  <c:v>6.0298540434198111</c:v>
                </c:pt>
                <c:pt idx="1543">
                  <c:v>5.8008156638175796</c:v>
                </c:pt>
                <c:pt idx="1544">
                  <c:v>5.8500987952323076</c:v>
                </c:pt>
                <c:pt idx="1545">
                  <c:v>5.9013393777695002</c:v>
                </c:pt>
                <c:pt idx="1546">
                  <c:v>6.1448466038580847</c:v>
                </c:pt>
                <c:pt idx="1547">
                  <c:v>6.22274703367904</c:v>
                </c:pt>
                <c:pt idx="1548">
                  <c:v>6.1811367573370539</c:v>
                </c:pt>
                <c:pt idx="1549">
                  <c:v>6.1581312624172995</c:v>
                </c:pt>
                <c:pt idx="1550">
                  <c:v>6.1373175465073224</c:v>
                </c:pt>
                <c:pt idx="1551">
                  <c:v>5.8805310271514024</c:v>
                </c:pt>
                <c:pt idx="1552">
                  <c:v>5.7697766491126119</c:v>
                </c:pt>
                <c:pt idx="1553">
                  <c:v>5.7835510169437763</c:v>
                </c:pt>
                <c:pt idx="1554">
                  <c:v>5.7043654288830892</c:v>
                </c:pt>
                <c:pt idx="1555">
                  <c:v>5.7602643308523893</c:v>
                </c:pt>
                <c:pt idx="1556">
                  <c:v>5.8651513194460723</c:v>
                </c:pt>
                <c:pt idx="1557">
                  <c:v>5.6431517160468569</c:v>
                </c:pt>
                <c:pt idx="1558">
                  <c:v>5.8805310271514033</c:v>
                </c:pt>
                <c:pt idx="1559">
                  <c:v>5.8143315706023539</c:v>
                </c:pt>
                <c:pt idx="1560">
                  <c:v>5.9676547508888653</c:v>
                </c:pt>
                <c:pt idx="1561">
                  <c:v>5.8849178468790999</c:v>
                </c:pt>
                <c:pt idx="1562">
                  <c:v>5.5987709864879971</c:v>
                </c:pt>
                <c:pt idx="1563">
                  <c:v>5.4350515127491255</c:v>
                </c:pt>
                <c:pt idx="1564">
                  <c:v>5.4152314062093145</c:v>
                </c:pt>
                <c:pt idx="1565">
                  <c:v>5.3717700973231004</c:v>
                </c:pt>
                <c:pt idx="1566">
                  <c:v>5.334005334008002</c:v>
                </c:pt>
                <c:pt idx="1567">
                  <c:v>5.3501080282531204</c:v>
                </c:pt>
                <c:pt idx="1568">
                  <c:v>5.3462880299255033</c:v>
                </c:pt>
                <c:pt idx="1569">
                  <c:v>5.1118668601303501</c:v>
                </c:pt>
                <c:pt idx="1570">
                  <c:v>5.340854911228698</c:v>
                </c:pt>
                <c:pt idx="1571">
                  <c:v>5.3470924668891184</c:v>
                </c:pt>
                <c:pt idx="1572">
                  <c:v>5.3657616280880731</c:v>
                </c:pt>
                <c:pt idx="1573">
                  <c:v>5.3657616280880731</c:v>
                </c:pt>
                <c:pt idx="1574">
                  <c:v>5.3344084937783522</c:v>
                </c:pt>
                <c:pt idx="1575">
                  <c:v>5.0396279091184493</c:v>
                </c:pt>
                <c:pt idx="1576">
                  <c:v>4.995912307571686</c:v>
                </c:pt>
                <c:pt idx="1577">
                  <c:v>4.7319549711997855</c:v>
                </c:pt>
                <c:pt idx="1578">
                  <c:v>4.6274078300714372</c:v>
                </c:pt>
                <c:pt idx="1579">
                  <c:v>4.779661210831013</c:v>
                </c:pt>
                <c:pt idx="1580">
                  <c:v>4.9132255134724439</c:v>
                </c:pt>
                <c:pt idx="1581">
                  <c:v>4.6745708790460974</c:v>
                </c:pt>
                <c:pt idx="1582">
                  <c:v>4.7476083395996946</c:v>
                </c:pt>
                <c:pt idx="1583">
                  <c:v>4.7328638264796927</c:v>
                </c:pt>
                <c:pt idx="1584">
                  <c:v>4.817977088551423</c:v>
                </c:pt>
                <c:pt idx="1585">
                  <c:v>4.8025530844575002</c:v>
                </c:pt>
                <c:pt idx="1586">
                  <c:v>4.6956855053965647</c:v>
                </c:pt>
                <c:pt idx="1587">
                  <c:v>4.5949949395645326</c:v>
                </c:pt>
                <c:pt idx="1588">
                  <c:v>4.5809329002463182</c:v>
                </c:pt>
                <c:pt idx="1589">
                  <c:v>4.2218071857888644</c:v>
                </c:pt>
                <c:pt idx="1590">
                  <c:v>4.2378225287222957</c:v>
                </c:pt>
                <c:pt idx="1591">
                  <c:v>4.096943523720963</c:v>
                </c:pt>
                <c:pt idx="1592">
                  <c:v>4.3087807321618792</c:v>
                </c:pt>
                <c:pt idx="1593">
                  <c:v>4.4225716257564711</c:v>
                </c:pt>
                <c:pt idx="1594">
                  <c:v>4.6167064553232811</c:v>
                </c:pt>
                <c:pt idx="1595">
                  <c:v>4.4262171037424682</c:v>
                </c:pt>
                <c:pt idx="1596">
                  <c:v>4.5354043340278141</c:v>
                </c:pt>
                <c:pt idx="1597">
                  <c:v>4.7144253575184436</c:v>
                </c:pt>
                <c:pt idx="1598">
                  <c:v>4.7668208111026473</c:v>
                </c:pt>
                <c:pt idx="1599">
                  <c:v>4.7530409055111615</c:v>
                </c:pt>
                <c:pt idx="1600">
                  <c:v>4.772682120533057</c:v>
                </c:pt>
                <c:pt idx="1601">
                  <c:v>4.7726821205330561</c:v>
                </c:pt>
                <c:pt idx="1602">
                  <c:v>4.9086274716985798</c:v>
                </c:pt>
                <c:pt idx="1603">
                  <c:v>4.8135114493598419</c:v>
                </c:pt>
                <c:pt idx="1604">
                  <c:v>4.7663696425993303</c:v>
                </c:pt>
                <c:pt idx="1605">
                  <c:v>4.744663102580545</c:v>
                </c:pt>
                <c:pt idx="1606">
                  <c:v>4.8433526111701832</c:v>
                </c:pt>
                <c:pt idx="1607">
                  <c:v>4.7776360735841852</c:v>
                </c:pt>
                <c:pt idx="1608">
                  <c:v>4.6625942292072295</c:v>
                </c:pt>
                <c:pt idx="1609">
                  <c:v>4.638548159958896</c:v>
                </c:pt>
                <c:pt idx="1610">
                  <c:v>4.9611393072364383</c:v>
                </c:pt>
                <c:pt idx="1611">
                  <c:v>5.009238776329151</c:v>
                </c:pt>
                <c:pt idx="1612">
                  <c:v>5.0045140913302051</c:v>
                </c:pt>
                <c:pt idx="1613">
                  <c:v>5.2910961931088698</c:v>
                </c:pt>
                <c:pt idx="1614">
                  <c:v>5.2910961931088698</c:v>
                </c:pt>
                <c:pt idx="1615">
                  <c:v>5.4397975926924307</c:v>
                </c:pt>
                <c:pt idx="1616">
                  <c:v>5.5540356343794723</c:v>
                </c:pt>
                <c:pt idx="1617">
                  <c:v>5.5482245537581409</c:v>
                </c:pt>
                <c:pt idx="1618">
                  <c:v>5.7124651477725568</c:v>
                </c:pt>
                <c:pt idx="1619">
                  <c:v>5.8169200733536766</c:v>
                </c:pt>
                <c:pt idx="1620">
                  <c:v>6.0318152905178319</c:v>
                </c:pt>
                <c:pt idx="1621">
                  <c:v>6.2709434045281975</c:v>
                </c:pt>
                <c:pt idx="1622">
                  <c:v>6.2365554319603369</c:v>
                </c:pt>
                <c:pt idx="1623">
                  <c:v>6.1301300658025122</c:v>
                </c:pt>
                <c:pt idx="1624">
                  <c:v>5.907167143048687</c:v>
                </c:pt>
                <c:pt idx="1625">
                  <c:v>6.0053739374856807</c:v>
                </c:pt>
                <c:pt idx="1626">
                  <c:v>5.9584583414211778</c:v>
                </c:pt>
                <c:pt idx="1627">
                  <c:v>6.1901760532227579</c:v>
                </c:pt>
                <c:pt idx="1628">
                  <c:v>5.8821764679410968</c:v>
                </c:pt>
                <c:pt idx="1629">
                  <c:v>6.0508597096451053</c:v>
                </c:pt>
                <c:pt idx="1630">
                  <c:v>6.163541783084459</c:v>
                </c:pt>
                <c:pt idx="1631">
                  <c:v>6.195905689391016</c:v>
                </c:pt>
                <c:pt idx="1632">
                  <c:v>5.9807936323800943</c:v>
                </c:pt>
                <c:pt idx="1633">
                  <c:v>5.9656724107034202</c:v>
                </c:pt>
                <c:pt idx="1634">
                  <c:v>5.9656724107034202</c:v>
                </c:pt>
                <c:pt idx="1635">
                  <c:v>5.9656724107034202</c:v>
                </c:pt>
                <c:pt idx="1636">
                  <c:v>6.0369827969212064</c:v>
                </c:pt>
                <c:pt idx="1637">
                  <c:v>6.0187877892157742</c:v>
                </c:pt>
                <c:pt idx="1638">
                  <c:v>6.0771031582242303</c:v>
                </c:pt>
                <c:pt idx="1639">
                  <c:v>6.0629316163837972</c:v>
                </c:pt>
                <c:pt idx="1640">
                  <c:v>6.1123882666745457</c:v>
                </c:pt>
                <c:pt idx="1641">
                  <c:v>5.9552091591338971</c:v>
                </c:pt>
                <c:pt idx="1642">
                  <c:v>5.6847277008013366</c:v>
                </c:pt>
                <c:pt idx="1643">
                  <c:v>5.6566641638306212</c:v>
                </c:pt>
                <c:pt idx="1644">
                  <c:v>5.6137312453148009</c:v>
                </c:pt>
                <c:pt idx="1645">
                  <c:v>5.6137312453148009</c:v>
                </c:pt>
                <c:pt idx="1646">
                  <c:v>5.5443471163191571</c:v>
                </c:pt>
                <c:pt idx="1647">
                  <c:v>5.4662208053163308</c:v>
                </c:pt>
                <c:pt idx="1648">
                  <c:v>5.7368831221308012</c:v>
                </c:pt>
                <c:pt idx="1649">
                  <c:v>5.7971071762477555</c:v>
                </c:pt>
                <c:pt idx="1650">
                  <c:v>5.8054479419293408</c:v>
                </c:pt>
                <c:pt idx="1651">
                  <c:v>5.5315322888297036</c:v>
                </c:pt>
                <c:pt idx="1652">
                  <c:v>5.3687667032548996</c:v>
                </c:pt>
                <c:pt idx="1653">
                  <c:v>5.5040552010235135</c:v>
                </c:pt>
                <c:pt idx="1654">
                  <c:v>5.2198957679207529</c:v>
                </c:pt>
                <c:pt idx="1655">
                  <c:v>5.1830990853959422</c:v>
                </c:pt>
                <c:pt idx="1656">
                  <c:v>5.0298036473785732</c:v>
                </c:pt>
                <c:pt idx="1657">
                  <c:v>5.1429040789802203</c:v>
                </c:pt>
                <c:pt idx="1658">
                  <c:v>4.6526671735636747</c:v>
                </c:pt>
                <c:pt idx="1659">
                  <c:v>4.5517336883755046</c:v>
                </c:pt>
                <c:pt idx="1660">
                  <c:v>4.7713301497433047</c:v>
                </c:pt>
                <c:pt idx="1661">
                  <c:v>4.7623072026564097</c:v>
                </c:pt>
                <c:pt idx="1662">
                  <c:v>4.780336065929446</c:v>
                </c:pt>
                <c:pt idx="1663">
                  <c:v>4.9123500278073555</c:v>
                </c:pt>
                <c:pt idx="1664">
                  <c:v>4.9138820253583395</c:v>
                </c:pt>
                <c:pt idx="1665">
                  <c:v>5.2132997826382406</c:v>
                </c:pt>
                <c:pt idx="1666">
                  <c:v>5.2461967791116351</c:v>
                </c:pt>
                <c:pt idx="1667">
                  <c:v>5.1481283789792593</c:v>
                </c:pt>
                <c:pt idx="1668">
                  <c:v>5.1502166151333579</c:v>
                </c:pt>
                <c:pt idx="1669">
                  <c:v>5.1183834813704205</c:v>
                </c:pt>
                <c:pt idx="1670">
                  <c:v>5.3464891505135537</c:v>
                </c:pt>
                <c:pt idx="1671">
                  <c:v>5.3885581689154058</c:v>
                </c:pt>
                <c:pt idx="1672">
                  <c:v>5.4770292552044664</c:v>
                </c:pt>
                <c:pt idx="1673">
                  <c:v>5.7727576757383208</c:v>
                </c:pt>
                <c:pt idx="1674">
                  <c:v>5.790054506029775</c:v>
                </c:pt>
                <c:pt idx="1675">
                  <c:v>5.6127734504834246</c:v>
                </c:pt>
                <c:pt idx="1676">
                  <c:v>5.7708947145526421</c:v>
                </c:pt>
                <c:pt idx="1677">
                  <c:v>5.8394284592914403</c:v>
                </c:pt>
                <c:pt idx="1678">
                  <c:v>5.965131658138378</c:v>
                </c:pt>
                <c:pt idx="1679">
                  <c:v>5.7746200359105702</c:v>
                </c:pt>
                <c:pt idx="1680">
                  <c:v>5.5186877043817786</c:v>
                </c:pt>
                <c:pt idx="1681">
                  <c:v>5.2858097720440682</c:v>
                </c:pt>
                <c:pt idx="1682">
                  <c:v>5.2711427827900046</c:v>
                </c:pt>
                <c:pt idx="1683">
                  <c:v>5.3053026830841397</c:v>
                </c:pt>
                <c:pt idx="1684">
                  <c:v>5.4080783858924422</c:v>
                </c:pt>
                <c:pt idx="1685">
                  <c:v>5.3384384169139576</c:v>
                </c:pt>
                <c:pt idx="1686">
                  <c:v>5.3125940851883744</c:v>
                </c:pt>
                <c:pt idx="1687">
                  <c:v>5.4492773517149953</c:v>
                </c:pt>
                <c:pt idx="1688">
                  <c:v>5.41602560309064</c:v>
                </c:pt>
                <c:pt idx="1689">
                  <c:v>5.4858566929800494</c:v>
                </c:pt>
                <c:pt idx="1690">
                  <c:v>5.6091323385527136</c:v>
                </c:pt>
                <c:pt idx="1691">
                  <c:v>5.7567165073708946</c:v>
                </c:pt>
                <c:pt idx="1692">
                  <c:v>5.9744977743668128</c:v>
                </c:pt>
                <c:pt idx="1693">
                  <c:v>6.0928302655794795</c:v>
                </c:pt>
                <c:pt idx="1694">
                  <c:v>5.9335024743319371</c:v>
                </c:pt>
                <c:pt idx="1695">
                  <c:v>6.2044035697167539</c:v>
                </c:pt>
                <c:pt idx="1696">
                  <c:v>6.0558334091659001</c:v>
                </c:pt>
                <c:pt idx="1697">
                  <c:v>6.0558334091659001</c:v>
                </c:pt>
                <c:pt idx="1698">
                  <c:v>6.0606256109166576</c:v>
                </c:pt>
                <c:pt idx="1699">
                  <c:v>6.6149065939975165</c:v>
                </c:pt>
                <c:pt idx="1700">
                  <c:v>6.9370440855714106</c:v>
                </c:pt>
                <c:pt idx="1701">
                  <c:v>7.0924767046816317</c:v>
                </c:pt>
                <c:pt idx="1702">
                  <c:v>7.0695469885740154</c:v>
                </c:pt>
                <c:pt idx="1703">
                  <c:v>7.3549047346593133</c:v>
                </c:pt>
                <c:pt idx="1704">
                  <c:v>7.2320969162789579</c:v>
                </c:pt>
                <c:pt idx="1705">
                  <c:v>7.4058970981209962</c:v>
                </c:pt>
                <c:pt idx="1706">
                  <c:v>7.7390227495646737</c:v>
                </c:pt>
                <c:pt idx="1707">
                  <c:v>7.6243808139218059</c:v>
                </c:pt>
                <c:pt idx="1708">
                  <c:v>7.541426806617558</c:v>
                </c:pt>
                <c:pt idx="1709">
                  <c:v>7.3524189567875577</c:v>
                </c:pt>
                <c:pt idx="1710">
                  <c:v>7.3524189567875577</c:v>
                </c:pt>
                <c:pt idx="1711">
                  <c:v>7.5015410603135333</c:v>
                </c:pt>
                <c:pt idx="1712">
                  <c:v>7.6418485631662163</c:v>
                </c:pt>
                <c:pt idx="1713">
                  <c:v>7.2972229214675526</c:v>
                </c:pt>
                <c:pt idx="1714">
                  <c:v>7.2914738837802515</c:v>
                </c:pt>
                <c:pt idx="1715">
                  <c:v>7.263400666857903</c:v>
                </c:pt>
                <c:pt idx="1716">
                  <c:v>7.1803195783552578</c:v>
                </c:pt>
                <c:pt idx="1717">
                  <c:v>7.0917186293788879</c:v>
                </c:pt>
                <c:pt idx="1718">
                  <c:v>6.8385372264724475</c:v>
                </c:pt>
                <c:pt idx="1719">
                  <c:v>6.9841602661777378</c:v>
                </c:pt>
                <c:pt idx="1720">
                  <c:v>6.8190120055021763</c:v>
                </c:pt>
                <c:pt idx="1721">
                  <c:v>6.8397950041594662</c:v>
                </c:pt>
                <c:pt idx="1722">
                  <c:v>6.1051714373611068</c:v>
                </c:pt>
                <c:pt idx="1723">
                  <c:v>6.1724326429036722</c:v>
                </c:pt>
                <c:pt idx="1724">
                  <c:v>6.1724326429036731</c:v>
                </c:pt>
                <c:pt idx="1725">
                  <c:v>6.0323500654245823</c:v>
                </c:pt>
                <c:pt idx="1726">
                  <c:v>4.9965579550175807</c:v>
                </c:pt>
                <c:pt idx="1727">
                  <c:v>4.9836291133856401</c:v>
                </c:pt>
                <c:pt idx="1728">
                  <c:v>4.3127717305695654</c:v>
                </c:pt>
                <c:pt idx="1729">
                  <c:v>3.7044001734641592</c:v>
                </c:pt>
                <c:pt idx="1730">
                  <c:v>3.7304328210353903</c:v>
                </c:pt>
                <c:pt idx="1731">
                  <c:v>3.7142561738161235</c:v>
                </c:pt>
                <c:pt idx="1732">
                  <c:v>3.7425194205111656</c:v>
                </c:pt>
                <c:pt idx="1733">
                  <c:v>3.6729174481119444</c:v>
                </c:pt>
                <c:pt idx="1734">
                  <c:v>3.6001792070090954</c:v>
                </c:pt>
                <c:pt idx="1735">
                  <c:v>3.6606010435446255</c:v>
                </c:pt>
                <c:pt idx="1736">
                  <c:v>3.7660052706979483</c:v>
                </c:pt>
                <c:pt idx="1737">
                  <c:v>3.7660052706979483</c:v>
                </c:pt>
                <c:pt idx="1738">
                  <c:v>3.7660052706979483</c:v>
                </c:pt>
                <c:pt idx="1739">
                  <c:v>3.7453914333814704</c:v>
                </c:pt>
                <c:pt idx="1740">
                  <c:v>3.6275528645281292</c:v>
                </c:pt>
                <c:pt idx="1741">
                  <c:v>3.4916182279084245</c:v>
                </c:pt>
                <c:pt idx="1742">
                  <c:v>3.575604317672628</c:v>
                </c:pt>
                <c:pt idx="1743">
                  <c:v>3.6822737248806257</c:v>
                </c:pt>
                <c:pt idx="1744">
                  <c:v>5.0609192075952416</c:v>
                </c:pt>
                <c:pt idx="1745">
                  <c:v>5.9496091856831734</c:v>
                </c:pt>
                <c:pt idx="1746">
                  <c:v>6.2182527020592095</c:v>
                </c:pt>
                <c:pt idx="1747">
                  <c:v>6.7456078900608816</c:v>
                </c:pt>
                <c:pt idx="1748">
                  <c:v>6.7315658278459738</c:v>
                </c:pt>
                <c:pt idx="1749">
                  <c:v>6.7024309504209958</c:v>
                </c:pt>
                <c:pt idx="1750">
                  <c:v>6.6403782765678319</c:v>
                </c:pt>
                <c:pt idx="1751">
                  <c:v>6.5579304367234048</c:v>
                </c:pt>
                <c:pt idx="1752">
                  <c:v>7.0625469833816412</c:v>
                </c:pt>
                <c:pt idx="1753">
                  <c:v>7.018715380423818</c:v>
                </c:pt>
                <c:pt idx="1754">
                  <c:v>7.2012543710196102</c:v>
                </c:pt>
                <c:pt idx="1755">
                  <c:v>7.2280814391041961</c:v>
                </c:pt>
                <c:pt idx="1756">
                  <c:v>7.2034937759843425</c:v>
                </c:pt>
                <c:pt idx="1757">
                  <c:v>7.309295893012739</c:v>
                </c:pt>
                <c:pt idx="1758">
                  <c:v>7.1447401511851352</c:v>
                </c:pt>
                <c:pt idx="1759">
                  <c:v>7.0208598560489417</c:v>
                </c:pt>
                <c:pt idx="1760">
                  <c:v>6.9019243070164817</c:v>
                </c:pt>
                <c:pt idx="1761">
                  <c:v>6.9670499457257042</c:v>
                </c:pt>
                <c:pt idx="1762">
                  <c:v>7.0294312163792059</c:v>
                </c:pt>
                <c:pt idx="1763">
                  <c:v>7.2718340116144784</c:v>
                </c:pt>
                <c:pt idx="1764">
                  <c:v>7.3234048136448218</c:v>
                </c:pt>
                <c:pt idx="1765">
                  <c:v>7.2889664739292446</c:v>
                </c:pt>
                <c:pt idx="1766">
                  <c:v>7.1245448826536446</c:v>
                </c:pt>
                <c:pt idx="1767">
                  <c:v>6.7478391603040846</c:v>
                </c:pt>
                <c:pt idx="1768">
                  <c:v>6.3318617418796812</c:v>
                </c:pt>
                <c:pt idx="1769">
                  <c:v>6.3623556873592904</c:v>
                </c:pt>
                <c:pt idx="1770">
                  <c:v>6.1640651298255404</c:v>
                </c:pt>
                <c:pt idx="1771">
                  <c:v>5.9798946299200155</c:v>
                </c:pt>
                <c:pt idx="1772">
                  <c:v>5.9180787350269766</c:v>
                </c:pt>
                <c:pt idx="1773">
                  <c:v>5.2330627969248704</c:v>
                </c:pt>
                <c:pt idx="1774">
                  <c:v>5.1760407503672505</c:v>
                </c:pt>
                <c:pt idx="1775">
                  <c:v>5.0377072784805508</c:v>
                </c:pt>
                <c:pt idx="1776">
                  <c:v>4.8506733819197221</c:v>
                </c:pt>
                <c:pt idx="1777">
                  <c:v>5.0543284973515306</c:v>
                </c:pt>
                <c:pt idx="1778">
                  <c:v>5.26440675619045</c:v>
                </c:pt>
                <c:pt idx="1779">
                  <c:v>5.2052496247455782</c:v>
                </c:pt>
                <c:pt idx="1780">
                  <c:v>5.1209038180753303</c:v>
                </c:pt>
                <c:pt idx="1781">
                  <c:v>5.0973322139060864</c:v>
                </c:pt>
                <c:pt idx="1782">
                  <c:v>5.2273063027524698</c:v>
                </c:pt>
                <c:pt idx="1783">
                  <c:v>5.1213237536058314</c:v>
                </c:pt>
                <c:pt idx="1784">
                  <c:v>5.2132997826382397</c:v>
                </c:pt>
                <c:pt idx="1785">
                  <c:v>5.1760407503672496</c:v>
                </c:pt>
                <c:pt idx="1786">
                  <c:v>5.3138083461661418</c:v>
                </c:pt>
                <c:pt idx="1787">
                  <c:v>5.5192721976178927</c:v>
                </c:pt>
                <c:pt idx="1788">
                  <c:v>5.702102988777356</c:v>
                </c:pt>
                <c:pt idx="1789">
                  <c:v>5.9658526506663216</c:v>
                </c:pt>
                <c:pt idx="1790">
                  <c:v>6.1924338154831977</c:v>
                </c:pt>
                <c:pt idx="1791">
                  <c:v>6.2308631756746582</c:v>
                </c:pt>
                <c:pt idx="1792">
                  <c:v>6.3858041485513715</c:v>
                </c:pt>
                <c:pt idx="1793">
                  <c:v>6.516480348242621</c:v>
                </c:pt>
                <c:pt idx="1794">
                  <c:v>6.4518064487097648</c:v>
                </c:pt>
                <c:pt idx="1795">
                  <c:v>6.4541392902922867</c:v>
                </c:pt>
                <c:pt idx="1796">
                  <c:v>6.328974164783312</c:v>
                </c:pt>
                <c:pt idx="1797">
                  <c:v>6.2654540121602214</c:v>
                </c:pt>
                <c:pt idx="1798">
                  <c:v>6.2256838809038673</c:v>
                </c:pt>
                <c:pt idx="1799">
                  <c:v>6.3657348864967105</c:v>
                </c:pt>
                <c:pt idx="1800">
                  <c:v>6.4326118042095404</c:v>
                </c:pt>
                <c:pt idx="1801">
                  <c:v>6.5646495455518412</c:v>
                </c:pt>
                <c:pt idx="1802">
                  <c:v>6.6557437398973525</c:v>
                </c:pt>
                <c:pt idx="1803">
                  <c:v>6.545621535830084</c:v>
                </c:pt>
                <c:pt idx="1804">
                  <c:v>6.6418354763290886</c:v>
                </c:pt>
                <c:pt idx="1805">
                  <c:v>6.645719780268311</c:v>
                </c:pt>
                <c:pt idx="1806">
                  <c:v>6.5695616128434509</c:v>
                </c:pt>
                <c:pt idx="1807">
                  <c:v>6.5747971063179831</c:v>
                </c:pt>
                <c:pt idx="1808">
                  <c:v>6.6217302744793987</c:v>
                </c:pt>
                <c:pt idx="1809">
                  <c:v>6.4279296487976971</c:v>
                </c:pt>
                <c:pt idx="1810">
                  <c:v>6.3866460142885604</c:v>
                </c:pt>
                <c:pt idx="1811">
                  <c:v>6.3664105110885627</c:v>
                </c:pt>
                <c:pt idx="1812">
                  <c:v>6.5855821666059464</c:v>
                </c:pt>
                <c:pt idx="1813">
                  <c:v>6.4799110574010168</c:v>
                </c:pt>
                <c:pt idx="1814">
                  <c:v>6.5413490437239288</c:v>
                </c:pt>
                <c:pt idx="1815">
                  <c:v>6.3579600434399159</c:v>
                </c:pt>
                <c:pt idx="1816">
                  <c:v>6.4812384320362115</c:v>
                </c:pt>
                <c:pt idx="1817">
                  <c:v>6.6360047573660577</c:v>
                </c:pt>
                <c:pt idx="1818">
                  <c:v>6.4944972571905746</c:v>
                </c:pt>
                <c:pt idx="1819">
                  <c:v>6.3989246408392546</c:v>
                </c:pt>
                <c:pt idx="1820">
                  <c:v>6.3476352382820149</c:v>
                </c:pt>
                <c:pt idx="1821">
                  <c:v>6.3071899576031738</c:v>
                </c:pt>
                <c:pt idx="1822">
                  <c:v>6.2630508900705024</c:v>
                </c:pt>
                <c:pt idx="1823">
                  <c:v>6.1011192345321774</c:v>
                </c:pt>
                <c:pt idx="1824">
                  <c:v>6.1011192345321765</c:v>
                </c:pt>
                <c:pt idx="1825">
                  <c:v>6.031637021679134</c:v>
                </c:pt>
                <c:pt idx="1826">
                  <c:v>6.259444477051483</c:v>
                </c:pt>
                <c:pt idx="1827">
                  <c:v>6.1469460902597097</c:v>
                </c:pt>
                <c:pt idx="1828">
                  <c:v>6.1474708498261599</c:v>
                </c:pt>
                <c:pt idx="1829">
                  <c:v>6.156559575481392</c:v>
                </c:pt>
                <c:pt idx="1830">
                  <c:v>5.9115341967326698</c:v>
                </c:pt>
                <c:pt idx="1831">
                  <c:v>6.0942419500899829</c:v>
                </c:pt>
                <c:pt idx="1832">
                  <c:v>5.9707170729813841</c:v>
                </c:pt>
                <c:pt idx="1833">
                  <c:v>5.8763239185479659</c:v>
                </c:pt>
                <c:pt idx="1834">
                  <c:v>5.8333486942962134</c:v>
                </c:pt>
                <c:pt idx="1835">
                  <c:v>5.7380075969621807</c:v>
                </c:pt>
                <c:pt idx="1836">
                  <c:v>5.7380075969621807</c:v>
                </c:pt>
                <c:pt idx="1837">
                  <c:v>5.751484146937476</c:v>
                </c:pt>
                <c:pt idx="1838">
                  <c:v>5.8486281821383743</c:v>
                </c:pt>
                <c:pt idx="1839">
                  <c:v>5.6902104199806107</c:v>
                </c:pt>
                <c:pt idx="1840">
                  <c:v>5.7891258834666628</c:v>
                </c:pt>
                <c:pt idx="1841">
                  <c:v>5.6001152061882324</c:v>
                </c:pt>
                <c:pt idx="1842">
                  <c:v>5.6001152061882324</c:v>
                </c:pt>
                <c:pt idx="1843">
                  <c:v>5.4553909413149002</c:v>
                </c:pt>
                <c:pt idx="1844">
                  <c:v>5.6718508860087535</c:v>
                </c:pt>
                <c:pt idx="1845">
                  <c:v>5.5484183545005994</c:v>
                </c:pt>
                <c:pt idx="1846">
                  <c:v>5.5623542629211027</c:v>
                </c:pt>
                <c:pt idx="1847">
                  <c:v>5.4672042746402996</c:v>
                </c:pt>
                <c:pt idx="1848">
                  <c:v>5.3220983815404708</c:v>
                </c:pt>
                <c:pt idx="1849">
                  <c:v>5.3823686675216038</c:v>
                </c:pt>
                <c:pt idx="1850">
                  <c:v>5.4184074952836685</c:v>
                </c:pt>
                <c:pt idx="1851">
                  <c:v>5.370969356452985</c:v>
                </c:pt>
                <c:pt idx="1852">
                  <c:v>5.4219783716246592</c:v>
                </c:pt>
                <c:pt idx="1853">
                  <c:v>5.7241236357934717</c:v>
                </c:pt>
                <c:pt idx="1854">
                  <c:v>5.7209293176952034</c:v>
                </c:pt>
                <c:pt idx="1855">
                  <c:v>5.5323097900337457</c:v>
                </c:pt>
                <c:pt idx="1856">
                  <c:v>5.579339769010712</c:v>
                </c:pt>
                <c:pt idx="1857">
                  <c:v>5.4795808645929212</c:v>
                </c:pt>
                <c:pt idx="1858">
                  <c:v>5.6913441162402378</c:v>
                </c:pt>
                <c:pt idx="1859">
                  <c:v>5.9409278446985017</c:v>
                </c:pt>
                <c:pt idx="1860">
                  <c:v>6.1905234548591519</c:v>
                </c:pt>
                <c:pt idx="1861">
                  <c:v>6.4571374196244253</c:v>
                </c:pt>
                <c:pt idx="1862">
                  <c:v>6.2843037099013257</c:v>
                </c:pt>
                <c:pt idx="1863">
                  <c:v>6.2760853493103443</c:v>
                </c:pt>
                <c:pt idx="1864">
                  <c:v>6.2868697443796062</c:v>
                </c:pt>
                <c:pt idx="1865">
                  <c:v>6.393208762395445</c:v>
                </c:pt>
                <c:pt idx="1866">
                  <c:v>6.5543222216294978</c:v>
                </c:pt>
                <c:pt idx="1867">
                  <c:v>6.5449644108875757</c:v>
                </c:pt>
                <c:pt idx="1868">
                  <c:v>6.7526179710069183</c:v>
                </c:pt>
                <c:pt idx="1869">
                  <c:v>6.78771819388297</c:v>
                </c:pt>
                <c:pt idx="1870">
                  <c:v>6.6702678445681309</c:v>
                </c:pt>
                <c:pt idx="1871">
                  <c:v>6.5899891494028511</c:v>
                </c:pt>
                <c:pt idx="1872">
                  <c:v>6.6992215885484132</c:v>
                </c:pt>
                <c:pt idx="1873">
                  <c:v>6.9531458030980327</c:v>
                </c:pt>
                <c:pt idx="1874">
                  <c:v>7.112763024975763</c:v>
                </c:pt>
                <c:pt idx="1875">
                  <c:v>7.0237691685684931</c:v>
                </c:pt>
                <c:pt idx="1876">
                  <c:v>7.2459109714687777</c:v>
                </c:pt>
                <c:pt idx="1877">
                  <c:v>7.1779231428848069</c:v>
                </c:pt>
                <c:pt idx="1878">
                  <c:v>7.3138548740236553</c:v>
                </c:pt>
                <c:pt idx="1879">
                  <c:v>7.3528576845354658</c:v>
                </c:pt>
                <c:pt idx="1880">
                  <c:v>7.5185791382457712</c:v>
                </c:pt>
                <c:pt idx="1881">
                  <c:v>7.6047523341997243</c:v>
                </c:pt>
                <c:pt idx="1882">
                  <c:v>7.510852363467575</c:v>
                </c:pt>
                <c:pt idx="1883">
                  <c:v>7.5496920110932724</c:v>
                </c:pt>
                <c:pt idx="1884">
                  <c:v>7.3188517813827501</c:v>
                </c:pt>
                <c:pt idx="1885">
                  <c:v>7.3955813602389631</c:v>
                </c:pt>
                <c:pt idx="1886">
                  <c:v>7.5138581644937261</c:v>
                </c:pt>
                <c:pt idx="1887">
                  <c:v>7.5915912735418081</c:v>
                </c:pt>
                <c:pt idx="1888">
                  <c:v>7.5015410603135342</c:v>
                </c:pt>
                <c:pt idx="1889">
                  <c:v>7.4825962948583538</c:v>
                </c:pt>
                <c:pt idx="1890">
                  <c:v>7.3516876856921103</c:v>
                </c:pt>
                <c:pt idx="1891">
                  <c:v>7.3516876856921103</c:v>
                </c:pt>
                <c:pt idx="1892">
                  <c:v>7.0225443417794162</c:v>
                </c:pt>
                <c:pt idx="1893">
                  <c:v>6.7980072981577813</c:v>
                </c:pt>
                <c:pt idx="1894">
                  <c:v>6.8311431055887164</c:v>
                </c:pt>
                <c:pt idx="1895">
                  <c:v>6.6879766938936411</c:v>
                </c:pt>
                <c:pt idx="1896">
                  <c:v>6.2851591711309602</c:v>
                </c:pt>
                <c:pt idx="1897">
                  <c:v>6.2704289781395728</c:v>
                </c:pt>
                <c:pt idx="1898">
                  <c:v>6.2841326036808898</c:v>
                </c:pt>
                <c:pt idx="1899">
                  <c:v>6.3530536218877183</c:v>
                </c:pt>
                <c:pt idx="1900">
                  <c:v>6.3716441726108339</c:v>
                </c:pt>
                <c:pt idx="1901">
                  <c:v>6.3282945433945326</c:v>
                </c:pt>
                <c:pt idx="1902">
                  <c:v>6.3296537132004493</c:v>
                </c:pt>
                <c:pt idx="1903">
                  <c:v>5.8757749431709589</c:v>
                </c:pt>
                <c:pt idx="1904">
                  <c:v>4.9125689138508104</c:v>
                </c:pt>
                <c:pt idx="1905">
                  <c:v>4.9392002312855441</c:v>
                </c:pt>
                <c:pt idx="1906">
                  <c:v>4.2177301136782059</c:v>
                </c:pt>
                <c:pt idx="1907">
                  <c:v>4.3717076705778553</c:v>
                </c:pt>
                <c:pt idx="1908">
                  <c:v>4.2385836546952165</c:v>
                </c:pt>
                <c:pt idx="1909">
                  <c:v>4.2952837351671409</c:v>
                </c:pt>
                <c:pt idx="1910">
                  <c:v>4.2747068062698652</c:v>
                </c:pt>
                <c:pt idx="1911">
                  <c:v>4.2890207419329647</c:v>
                </c:pt>
                <c:pt idx="1912">
                  <c:v>4.3242253330721319</c:v>
                </c:pt>
                <c:pt idx="1913">
                  <c:v>3.8268996969247295</c:v>
                </c:pt>
                <c:pt idx="1914">
                  <c:v>3.9146814918707888</c:v>
                </c:pt>
                <c:pt idx="1915">
                  <c:v>3.1947537640486829</c:v>
                </c:pt>
                <c:pt idx="1916">
                  <c:v>3.1554697348115743</c:v>
                </c:pt>
                <c:pt idx="1917">
                  <c:v>3.1700886999564224</c:v>
                </c:pt>
                <c:pt idx="1918">
                  <c:v>3.3013519550606527</c:v>
                </c:pt>
                <c:pt idx="1919">
                  <c:v>3.206176834248716</c:v>
                </c:pt>
                <c:pt idx="1920">
                  <c:v>3.1829518996835198</c:v>
                </c:pt>
                <c:pt idx="1921">
                  <c:v>3.3013519550606523</c:v>
                </c:pt>
                <c:pt idx="1922">
                  <c:v>3.3798899263109878</c:v>
                </c:pt>
                <c:pt idx="1923">
                  <c:v>3.4516631490664977</c:v>
                </c:pt>
                <c:pt idx="1924">
                  <c:v>3.4131308743720039</c:v>
                </c:pt>
                <c:pt idx="1925">
                  <c:v>3.3970258971983949</c:v>
                </c:pt>
                <c:pt idx="1926">
                  <c:v>3.3613873223987132</c:v>
                </c:pt>
                <c:pt idx="1927">
                  <c:v>3.4385543348882086</c:v>
                </c:pt>
                <c:pt idx="1928">
                  <c:v>3.3773438695079938</c:v>
                </c:pt>
                <c:pt idx="1929">
                  <c:v>3.3013519550606523</c:v>
                </c:pt>
                <c:pt idx="1930">
                  <c:v>3.4001897480259302</c:v>
                </c:pt>
                <c:pt idx="1931">
                  <c:v>3.4347997703455135</c:v>
                </c:pt>
                <c:pt idx="1932">
                  <c:v>3.4046141997974408</c:v>
                </c:pt>
                <c:pt idx="1933">
                  <c:v>3.9387788075269792</c:v>
                </c:pt>
                <c:pt idx="1934">
                  <c:v>4.0555285509976366</c:v>
                </c:pt>
                <c:pt idx="1935">
                  <c:v>4.3264627087139527</c:v>
                </c:pt>
                <c:pt idx="1936">
                  <c:v>4.3115249404158567</c:v>
                </c:pt>
                <c:pt idx="1937">
                  <c:v>4.3640762241650393</c:v>
                </c:pt>
                <c:pt idx="1938">
                  <c:v>4.7237674047971137</c:v>
                </c:pt>
                <c:pt idx="1939">
                  <c:v>4.6881227184936103</c:v>
                </c:pt>
                <c:pt idx="1940">
                  <c:v>4.5985037304692691</c:v>
                </c:pt>
                <c:pt idx="1941">
                  <c:v>4.9563687713738034</c:v>
                </c:pt>
                <c:pt idx="1942">
                  <c:v>5.5550035568061551</c:v>
                </c:pt>
                <c:pt idx="1943">
                  <c:v>5.5610009155542937</c:v>
                </c:pt>
                <c:pt idx="1944">
                  <c:v>5.9964146994109599</c:v>
                </c:pt>
                <c:pt idx="1945">
                  <c:v>5.8206159375510351</c:v>
                </c:pt>
                <c:pt idx="1946">
                  <c:v>5.8169200733536766</c:v>
                </c:pt>
                <c:pt idx="1947">
                  <c:v>6.0850601467238858</c:v>
                </c:pt>
                <c:pt idx="1948">
                  <c:v>6.3282945433945308</c:v>
                </c:pt>
                <c:pt idx="1949">
                  <c:v>6.5700526175860618</c:v>
                </c:pt>
                <c:pt idx="1950">
                  <c:v>6.500124068294836</c:v>
                </c:pt>
                <c:pt idx="1951">
                  <c:v>6.3975801877010117</c:v>
                </c:pt>
                <c:pt idx="1952">
                  <c:v>6.3948904334565402</c:v>
                </c:pt>
                <c:pt idx="1953">
                  <c:v>6.4671211457632758</c:v>
                </c:pt>
                <c:pt idx="1954">
                  <c:v>6.4416320646179397</c:v>
                </c:pt>
                <c:pt idx="1955">
                  <c:v>6.3022440106594155</c:v>
                </c:pt>
                <c:pt idx="1956">
                  <c:v>6.1130918914341779</c:v>
                </c:pt>
                <c:pt idx="1957">
                  <c:v>5.9244345494893267</c:v>
                </c:pt>
                <c:pt idx="1958">
                  <c:v>5.6990850048471042</c:v>
                </c:pt>
                <c:pt idx="1959">
                  <c:v>5.5722044439872622</c:v>
                </c:pt>
                <c:pt idx="1960">
                  <c:v>5.6087489261090155</c:v>
                </c:pt>
                <c:pt idx="1961">
                  <c:v>5.8508339631642379</c:v>
                </c:pt>
                <c:pt idx="1962">
                  <c:v>5.8755919399802856</c:v>
                </c:pt>
                <c:pt idx="1963">
                  <c:v>5.831505089846293</c:v>
                </c:pt>
                <c:pt idx="1964">
                  <c:v>6.087533533059923</c:v>
                </c:pt>
                <c:pt idx="1965">
                  <c:v>6.0820553967768465</c:v>
                </c:pt>
                <c:pt idx="1966">
                  <c:v>6.1934755820093645</c:v>
                </c:pt>
                <c:pt idx="1967">
                  <c:v>6.0739174441442296</c:v>
                </c:pt>
                <c:pt idx="1968">
                  <c:v>6.0508597096451053</c:v>
                </c:pt>
                <c:pt idx="1969">
                  <c:v>6.071615611106508</c:v>
                </c:pt>
                <c:pt idx="1970">
                  <c:v>6.2116782141832774</c:v>
                </c:pt>
                <c:pt idx="1971">
                  <c:v>6.0282489121001426</c:v>
                </c:pt>
                <c:pt idx="1972">
                  <c:v>6.0410780210086674</c:v>
                </c:pt>
                <c:pt idx="1973">
                  <c:v>5.9550285970260335</c:v>
                </c:pt>
                <c:pt idx="1974">
                  <c:v>5.9714373911252752</c:v>
                </c:pt>
                <c:pt idx="1975">
                  <c:v>5.9908532431236505</c:v>
                </c:pt>
                <c:pt idx="1976">
                  <c:v>5.766980537172727</c:v>
                </c:pt>
                <c:pt idx="1977">
                  <c:v>5.7904259133559863</c:v>
                </c:pt>
                <c:pt idx="1978">
                  <c:v>5.946174337110528</c:v>
                </c:pt>
                <c:pt idx="1979">
                  <c:v>6.0537023240292376</c:v>
                </c:pt>
                <c:pt idx="1980">
                  <c:v>5.8905793205068386</c:v>
                </c:pt>
                <c:pt idx="1981">
                  <c:v>6.0109219588761027</c:v>
                </c:pt>
                <c:pt idx="1982">
                  <c:v>6.0430356254032196</c:v>
                </c:pt>
                <c:pt idx="1983">
                  <c:v>6.0599158942316436</c:v>
                </c:pt>
                <c:pt idx="1984">
                  <c:v>5.7383823729396513</c:v>
                </c:pt>
                <c:pt idx="1985">
                  <c:v>6.0673637789246202</c:v>
                </c:pt>
                <c:pt idx="1986">
                  <c:v>6.0134258391187174</c:v>
                </c:pt>
                <c:pt idx="1987">
                  <c:v>5.9838492304622131</c:v>
                </c:pt>
                <c:pt idx="1988">
                  <c:v>5.9838492304622131</c:v>
                </c:pt>
                <c:pt idx="1989">
                  <c:v>5.9838492304622131</c:v>
                </c:pt>
                <c:pt idx="1990">
                  <c:v>5.9160797830996161</c:v>
                </c:pt>
                <c:pt idx="1991">
                  <c:v>5.8477088611464891</c:v>
                </c:pt>
                <c:pt idx="1992">
                  <c:v>6.0287840033575417</c:v>
                </c:pt>
                <c:pt idx="1993">
                  <c:v>6.1194208735759466</c:v>
                </c:pt>
                <c:pt idx="1994">
                  <c:v>6.0473045626227799</c:v>
                </c:pt>
                <c:pt idx="1995">
                  <c:v>5.7870823893085506</c:v>
                </c:pt>
                <c:pt idx="1996">
                  <c:v>6.1088689272149619</c:v>
                </c:pt>
                <c:pt idx="1997">
                  <c:v>6.1236365609972969</c:v>
                </c:pt>
                <c:pt idx="1998">
                  <c:v>6.229482451448372</c:v>
                </c:pt>
                <c:pt idx="1999">
                  <c:v>6.1827021965814355</c:v>
                </c:pt>
                <c:pt idx="2000">
                  <c:v>6.1450215884552151</c:v>
                </c:pt>
                <c:pt idx="2001">
                  <c:v>6.103057580259013</c:v>
                </c:pt>
                <c:pt idx="2002">
                  <c:v>6.0392978300105291</c:v>
                </c:pt>
                <c:pt idx="2003">
                  <c:v>6.0307455984412313</c:v>
                </c:pt>
                <c:pt idx="2004">
                  <c:v>6.202670253976903</c:v>
                </c:pt>
                <c:pt idx="2005">
                  <c:v>6.0930067440300517</c:v>
                </c:pt>
                <c:pt idx="2006">
                  <c:v>6.1910445207625919</c:v>
                </c:pt>
                <c:pt idx="2007">
                  <c:v>6.2978064110766256</c:v>
                </c:pt>
                <c:pt idx="2008">
                  <c:v>6.2978064110766248</c:v>
                </c:pt>
                <c:pt idx="2009">
                  <c:v>6.1778306384886816</c:v>
                </c:pt>
                <c:pt idx="2010">
                  <c:v>6.1011192345321774</c:v>
                </c:pt>
                <c:pt idx="2011">
                  <c:v>6.2947323941513593</c:v>
                </c:pt>
                <c:pt idx="2012">
                  <c:v>6.1997225050630256</c:v>
                </c:pt>
                <c:pt idx="2013">
                  <c:v>6.2479243865290925</c:v>
                </c:pt>
                <c:pt idx="2014">
                  <c:v>6.2382793326572088</c:v>
                </c:pt>
                <c:pt idx="2015">
                  <c:v>6.2365554319603378</c:v>
                </c:pt>
                <c:pt idx="2016">
                  <c:v>6.2365554319603378</c:v>
                </c:pt>
                <c:pt idx="2017">
                  <c:v>6.2716292407422598</c:v>
                </c:pt>
                <c:pt idx="2018">
                  <c:v>6.2147933122492898</c:v>
                </c:pt>
                <c:pt idx="2019">
                  <c:v>6.2556641001042674</c:v>
                </c:pt>
                <c:pt idx="2020">
                  <c:v>6.2315534230652432</c:v>
                </c:pt>
                <c:pt idx="2021">
                  <c:v>6.3559302594007097</c:v>
                </c:pt>
                <c:pt idx="2022">
                  <c:v>6.4606334787106245</c:v>
                </c:pt>
                <c:pt idx="2023">
                  <c:v>6.1032337629810138</c:v>
                </c:pt>
                <c:pt idx="2024">
                  <c:v>5.9593605776646594</c:v>
                </c:pt>
                <c:pt idx="2025">
                  <c:v>6.1399450104363966</c:v>
                </c:pt>
                <c:pt idx="2026">
                  <c:v>6.1174877126136096</c:v>
                </c:pt>
                <c:pt idx="2027">
                  <c:v>6.1174877126136096</c:v>
                </c:pt>
                <c:pt idx="2028">
                  <c:v>6.1174877126136096</c:v>
                </c:pt>
                <c:pt idx="2029">
                  <c:v>6.0634636469471364</c:v>
                </c:pt>
                <c:pt idx="2030">
                  <c:v>6.1936491927280359</c:v>
                </c:pt>
                <c:pt idx="2031">
                  <c:v>6.3242152813397476</c:v>
                </c:pt>
                <c:pt idx="2032">
                  <c:v>6.1631928605682251</c:v>
                </c:pt>
                <c:pt idx="2033">
                  <c:v>6.1232853645664749</c:v>
                </c:pt>
                <c:pt idx="2034">
                  <c:v>6.0682498229702526</c:v>
                </c:pt>
                <c:pt idx="2035">
                  <c:v>6.1201236898035507</c:v>
                </c:pt>
                <c:pt idx="2036">
                  <c:v>6.2789972488935595</c:v>
                </c:pt>
                <c:pt idx="2037">
                  <c:v>6.325065344555993</c:v>
                </c:pt>
                <c:pt idx="2038">
                  <c:v>6.2700860037661093</c:v>
                </c:pt>
                <c:pt idx="2039">
                  <c:v>6.3138352947342762</c:v>
                </c:pt>
                <c:pt idx="2040">
                  <c:v>6.3179212587890063</c:v>
                </c:pt>
                <c:pt idx="2041">
                  <c:v>6.2331062002203854</c:v>
                </c:pt>
                <c:pt idx="2042">
                  <c:v>6.1039384430160366</c:v>
                </c:pt>
                <c:pt idx="2043">
                  <c:v>6.2789972488935613</c:v>
                </c:pt>
                <c:pt idx="2044">
                  <c:v>6.2218829912647227</c:v>
                </c:pt>
                <c:pt idx="2045">
                  <c:v>6.4016127000381973</c:v>
                </c:pt>
                <c:pt idx="2046">
                  <c:v>6.6127930754004778</c:v>
                </c:pt>
                <c:pt idx="2047">
                  <c:v>6.3648902549053625</c:v>
                </c:pt>
                <c:pt idx="2048">
                  <c:v>6.3633696355216998</c:v>
                </c:pt>
                <c:pt idx="2049">
                  <c:v>6.3633696355216989</c:v>
                </c:pt>
                <c:pt idx="2050">
                  <c:v>6.4118505875440706</c:v>
                </c:pt>
                <c:pt idx="2051">
                  <c:v>6.4651256339196994</c:v>
                </c:pt>
                <c:pt idx="2052">
                  <c:v>6.3915266488708165</c:v>
                </c:pt>
                <c:pt idx="2053">
                  <c:v>6.2331062002203863</c:v>
                </c:pt>
                <c:pt idx="2054">
                  <c:v>6.4016127000381973</c:v>
                </c:pt>
                <c:pt idx="2055">
                  <c:v>6.3179212587890072</c:v>
                </c:pt>
                <c:pt idx="2056">
                  <c:v>6.1360910116478715</c:v>
                </c:pt>
                <c:pt idx="2057">
                  <c:v>6.1691218594001711</c:v>
                </c:pt>
                <c:pt idx="2058">
                  <c:v>5.7833650955094473</c:v>
                </c:pt>
                <c:pt idx="2059">
                  <c:v>5.7894973503657869</c:v>
                </c:pt>
                <c:pt idx="2060">
                  <c:v>5.829476451528449</c:v>
                </c:pt>
                <c:pt idx="2061">
                  <c:v>5.829476451528449</c:v>
                </c:pt>
                <c:pt idx="2062">
                  <c:v>5.6905883438291962</c:v>
                </c:pt>
                <c:pt idx="2063">
                  <c:v>5.8302142198603955</c:v>
                </c:pt>
                <c:pt idx="2064">
                  <c:v>5.7567165073708955</c:v>
                </c:pt>
                <c:pt idx="2065">
                  <c:v>5.8050774957086322</c:v>
                </c:pt>
                <c:pt idx="2066">
                  <c:v>5.7049308987173344</c:v>
                </c:pt>
                <c:pt idx="2067">
                  <c:v>5.8121119364040412</c:v>
                </c:pt>
                <c:pt idx="2068">
                  <c:v>5.6894544969722958</c:v>
                </c:pt>
                <c:pt idx="2069">
                  <c:v>5.6530513218360072</c:v>
                </c:pt>
                <c:pt idx="2070">
                  <c:v>5.5058131547141755</c:v>
                </c:pt>
                <c:pt idx="2071">
                  <c:v>5.4709398457393874</c:v>
                </c:pt>
                <c:pt idx="2072">
                  <c:v>5.4764402534367491</c:v>
                </c:pt>
                <c:pt idx="2073">
                  <c:v>5.5826151038603289</c:v>
                </c:pt>
                <c:pt idx="2074">
                  <c:v>5.5377492419453835</c:v>
                </c:pt>
                <c:pt idx="2075">
                  <c:v>5.5011240298140738</c:v>
                </c:pt>
                <c:pt idx="2076">
                  <c:v>5.3032755145094717</c:v>
                </c:pt>
                <c:pt idx="2077">
                  <c:v>5.0113848878951277</c:v>
                </c:pt>
                <c:pt idx="2078">
                  <c:v>5.1729237172943341</c:v>
                </c:pt>
                <c:pt idx="2079">
                  <c:v>5.2011165054462882</c:v>
                </c:pt>
                <c:pt idx="2080">
                  <c:v>5.5375550678103647</c:v>
                </c:pt>
                <c:pt idx="2081">
                  <c:v>5.4695638795298889</c:v>
                </c:pt>
                <c:pt idx="2082">
                  <c:v>5.6873751906428485</c:v>
                </c:pt>
                <c:pt idx="2083">
                  <c:v>5.6026107585506919</c:v>
                </c:pt>
                <c:pt idx="2084">
                  <c:v>5.6278875503664691</c:v>
                </c:pt>
                <c:pt idx="2085">
                  <c:v>5.2801107841098478</c:v>
                </c:pt>
                <c:pt idx="2086">
                  <c:v>5.1664758896446585</c:v>
                </c:pt>
                <c:pt idx="2087">
                  <c:v>5.2120621061005661</c:v>
                </c:pt>
                <c:pt idx="2088">
                  <c:v>5.3909521970981942</c:v>
                </c:pt>
                <c:pt idx="2089">
                  <c:v>5.4037024344425184</c:v>
                </c:pt>
                <c:pt idx="2090">
                  <c:v>5.6355248012005266</c:v>
                </c:pt>
                <c:pt idx="2091">
                  <c:v>5.6500071367354305</c:v>
                </c:pt>
                <c:pt idx="2092">
                  <c:v>5.6141143174941206</c:v>
                </c:pt>
                <c:pt idx="2093">
                  <c:v>5.7166047521647947</c:v>
                </c:pt>
                <c:pt idx="2094">
                  <c:v>5.782435398669401</c:v>
                </c:pt>
                <c:pt idx="2095">
                  <c:v>5.7757371637693353</c:v>
                </c:pt>
                <c:pt idx="2096">
                  <c:v>5.8180290791290643</c:v>
                </c:pt>
                <c:pt idx="2097">
                  <c:v>5.7971071762477555</c:v>
                </c:pt>
                <c:pt idx="2098">
                  <c:v>5.6357155998666819</c:v>
                </c:pt>
                <c:pt idx="2099">
                  <c:v>5.8982410354128421</c:v>
                </c:pt>
                <c:pt idx="2100">
                  <c:v>6.00232929696858</c:v>
                </c:pt>
                <c:pt idx="2101">
                  <c:v>6.0055529859178387</c:v>
                </c:pt>
                <c:pt idx="2102">
                  <c:v>6.1685989416743414</c:v>
                </c:pt>
                <c:pt idx="2103">
                  <c:v>6.3819301357868614</c:v>
                </c:pt>
                <c:pt idx="2104">
                  <c:v>6.2628792032082581</c:v>
                </c:pt>
                <c:pt idx="2105">
                  <c:v>6.1502688113295436</c:v>
                </c:pt>
                <c:pt idx="2106">
                  <c:v>6.1348642315690203</c:v>
                </c:pt>
                <c:pt idx="2107">
                  <c:v>6.3189423369789113</c:v>
                </c:pt>
                <c:pt idx="2108">
                  <c:v>6.33169192085695</c:v>
                </c:pt>
                <c:pt idx="2109">
                  <c:v>6.2369002502190787</c:v>
                </c:pt>
                <c:pt idx="2110">
                  <c:v>6.1684246259147395</c:v>
                </c:pt>
                <c:pt idx="2111">
                  <c:v>5.9033433209996691</c:v>
                </c:pt>
                <c:pt idx="2112">
                  <c:v>6.0319935540879968</c:v>
                </c:pt>
                <c:pt idx="2113">
                  <c:v>5.715476066494082</c:v>
                </c:pt>
                <c:pt idx="2114">
                  <c:v>5.935133229474542</c:v>
                </c:pt>
                <c:pt idx="2115">
                  <c:v>5.7898687934323085</c:v>
                </c:pt>
                <c:pt idx="2116">
                  <c:v>5.7166047521647947</c:v>
                </c:pt>
                <c:pt idx="2117">
                  <c:v>5.6060643047727634</c:v>
                </c:pt>
                <c:pt idx="2118">
                  <c:v>5.7327581606964948</c:v>
                </c:pt>
                <c:pt idx="2119">
                  <c:v>5.8276316220726114</c:v>
                </c:pt>
                <c:pt idx="2120">
                  <c:v>5.8976941001483558</c:v>
                </c:pt>
                <c:pt idx="2121">
                  <c:v>5.8390601688896808</c:v>
                </c:pt>
                <c:pt idx="2122">
                  <c:v>5.9022503454008923</c:v>
                </c:pt>
                <c:pt idx="2123">
                  <c:v>5.9142619677907344</c:v>
                </c:pt>
                <c:pt idx="2124">
                  <c:v>5.7415669810470273</c:v>
                </c:pt>
                <c:pt idx="2125">
                  <c:v>5.6964429572840789</c:v>
                </c:pt>
                <c:pt idx="2126">
                  <c:v>5.6741253885273952</c:v>
                </c:pt>
                <c:pt idx="2127">
                  <c:v>5.7583973278114664</c:v>
                </c:pt>
                <c:pt idx="2128">
                  <c:v>5.8752259164982306</c:v>
                </c:pt>
                <c:pt idx="2129">
                  <c:v>6.015213686888</c:v>
                </c:pt>
                <c:pt idx="2130">
                  <c:v>5.7874539873690578</c:v>
                </c:pt>
                <c:pt idx="2131">
                  <c:v>5.7606376588498556</c:v>
                </c:pt>
                <c:pt idx="2132">
                  <c:v>5.7370705499081724</c:v>
                </c:pt>
                <c:pt idx="2133">
                  <c:v>5.4451319878944515</c:v>
                </c:pt>
                <c:pt idx="2134">
                  <c:v>5.5429893724231238</c:v>
                </c:pt>
                <c:pt idx="2135">
                  <c:v>5.6945550299604033</c:v>
                </c:pt>
                <c:pt idx="2136">
                  <c:v>5.7254384252466064</c:v>
                </c:pt>
                <c:pt idx="2137">
                  <c:v>5.9018859752214921</c:v>
                </c:pt>
                <c:pt idx="2138">
                  <c:v>5.6743148892501187</c:v>
                </c:pt>
                <c:pt idx="2139">
                  <c:v>5.8061887634651743</c:v>
                </c:pt>
                <c:pt idx="2140">
                  <c:v>5.5922373232517497</c:v>
                </c:pt>
                <c:pt idx="2141">
                  <c:v>5.7350085074605737</c:v>
                </c:pt>
                <c:pt idx="2142">
                  <c:v>5.743065009115317</c:v>
                </c:pt>
                <c:pt idx="2143">
                  <c:v>5.4447370267371582</c:v>
                </c:pt>
                <c:pt idx="2144">
                  <c:v>5.4429593468638835</c:v>
                </c:pt>
                <c:pt idx="2145">
                  <c:v>5.1103942149562256</c:v>
                </c:pt>
                <c:pt idx="2146">
                  <c:v>5.1209038180753312</c:v>
                </c:pt>
                <c:pt idx="2147">
                  <c:v>5.0511363567640561</c:v>
                </c:pt>
                <c:pt idx="2148">
                  <c:v>5.239839117615599</c:v>
                </c:pt>
                <c:pt idx="2149">
                  <c:v>5.0645298267056722</c:v>
                </c:pt>
                <c:pt idx="2150">
                  <c:v>5.1996691375302859</c:v>
                </c:pt>
                <c:pt idx="2151">
                  <c:v>5.3101647302476023</c:v>
                </c:pt>
                <c:pt idx="2152">
                  <c:v>5.327146949696048</c:v>
                </c:pt>
                <c:pt idx="2153">
                  <c:v>5.6985189549188906</c:v>
                </c:pt>
                <c:pt idx="2154">
                  <c:v>5.7930250979040512</c:v>
                </c:pt>
                <c:pt idx="2155">
                  <c:v>5.7293809832837006</c:v>
                </c:pt>
                <c:pt idx="2156">
                  <c:v>5.7837369324015597</c:v>
                </c:pt>
                <c:pt idx="2157">
                  <c:v>5.8561611705889707</c:v>
                </c:pt>
                <c:pt idx="2158">
                  <c:v>5.9879807930966704</c:v>
                </c:pt>
                <c:pt idx="2159">
                  <c:v>6.2101200791811966</c:v>
                </c:pt>
                <c:pt idx="2160">
                  <c:v>6.1802668975321104</c:v>
                </c:pt>
                <c:pt idx="2161">
                  <c:v>6.1802668975321104</c:v>
                </c:pt>
                <c:pt idx="2162">
                  <c:v>6.2101200791811966</c:v>
                </c:pt>
                <c:pt idx="2163">
                  <c:v>6.3670860639884994</c:v>
                </c:pt>
                <c:pt idx="2164">
                  <c:v>6.3767049164437459</c:v>
                </c:pt>
                <c:pt idx="2165">
                  <c:v>6.0425017961924707</c:v>
                </c:pt>
                <c:pt idx="2166">
                  <c:v>6.0273569877737048</c:v>
                </c:pt>
                <c:pt idx="2167">
                  <c:v>6.1853103815515214</c:v>
                </c:pt>
                <c:pt idx="2168">
                  <c:v>6.0924772933423785</c:v>
                </c:pt>
                <c:pt idx="2169">
                  <c:v>6.4103411077944656</c:v>
                </c:pt>
                <c:pt idx="2170">
                  <c:v>6.5457858067581922</c:v>
                </c:pt>
                <c:pt idx="2171">
                  <c:v>6.5490703600316564</c:v>
                </c:pt>
                <c:pt idx="2172">
                  <c:v>6.5613727910572059</c:v>
                </c:pt>
                <c:pt idx="2173">
                  <c:v>6.5482493761671234</c:v>
                </c:pt>
                <c:pt idx="2174">
                  <c:v>6.7551652877273209</c:v>
                </c:pt>
                <c:pt idx="2175">
                  <c:v>6.7200550432973571</c:v>
                </c:pt>
                <c:pt idx="2176">
                  <c:v>6.8864835666672795</c:v>
                </c:pt>
                <c:pt idx="2177">
                  <c:v>6.933478079547803</c:v>
                </c:pt>
                <c:pt idx="2178">
                  <c:v>6.8689734093913009</c:v>
                </c:pt>
                <c:pt idx="2179">
                  <c:v>6.6215678876171458</c:v>
                </c:pt>
                <c:pt idx="2180">
                  <c:v>6.760416097138668</c:v>
                </c:pt>
                <c:pt idx="2181">
                  <c:v>6.7940517943967897</c:v>
                </c:pt>
                <c:pt idx="2182">
                  <c:v>6.671879682265236</c:v>
                </c:pt>
                <c:pt idx="2183">
                  <c:v>6.6969741201225661</c:v>
                </c:pt>
                <c:pt idx="2184">
                  <c:v>6.6592970018718773</c:v>
                </c:pt>
                <c:pt idx="2185">
                  <c:v>6.5362512685147962</c:v>
                </c:pt>
                <c:pt idx="2186">
                  <c:v>6.5715254116954576</c:v>
                </c:pt>
                <c:pt idx="2187">
                  <c:v>6.5551424449143951</c:v>
                </c:pt>
                <c:pt idx="2188">
                  <c:v>6.639244677858553</c:v>
                </c:pt>
                <c:pt idx="2189">
                  <c:v>6.5649771310479688</c:v>
                </c:pt>
                <c:pt idx="2190">
                  <c:v>6.5649771310479688</c:v>
                </c:pt>
                <c:pt idx="2191">
                  <c:v>6.5367447753499235</c:v>
                </c:pt>
                <c:pt idx="2192">
                  <c:v>6.5751241862428831</c:v>
                </c:pt>
                <c:pt idx="2193">
                  <c:v>6.5303262774782231</c:v>
                </c:pt>
                <c:pt idx="2194">
                  <c:v>6.2949032122513939</c:v>
                </c:pt>
                <c:pt idx="2195">
                  <c:v>6.396571662403078</c:v>
                </c:pt>
                <c:pt idx="2196">
                  <c:v>6.5500554048383153</c:v>
                </c:pt>
                <c:pt idx="2197">
                  <c:v>6.5500554048383153</c:v>
                </c:pt>
                <c:pt idx="2198">
                  <c:v>6.4434679769431984</c:v>
                </c:pt>
                <c:pt idx="2199">
                  <c:v>6.5108676725504377</c:v>
                </c:pt>
                <c:pt idx="2200">
                  <c:v>6.2685423868642687</c:v>
                </c:pt>
                <c:pt idx="2201">
                  <c:v>6.2592726912682046</c:v>
                </c:pt>
                <c:pt idx="2202">
                  <c:v>6.2757426840621147</c:v>
                </c:pt>
                <c:pt idx="2203">
                  <c:v>6.1371423422495468</c:v>
                </c:pt>
                <c:pt idx="2204">
                  <c:v>6.2491289715628211</c:v>
                </c:pt>
                <c:pt idx="2205">
                  <c:v>6.1565595754813911</c:v>
                </c:pt>
                <c:pt idx="2206">
                  <c:v>6.2018034144430798</c:v>
                </c:pt>
                <c:pt idx="2207">
                  <c:v>6.1469460902597115</c:v>
                </c:pt>
                <c:pt idx="2208">
                  <c:v>6.098475042948226</c:v>
                </c:pt>
                <c:pt idx="2209">
                  <c:v>6.0645275680514406</c:v>
                </c:pt>
                <c:pt idx="2210">
                  <c:v>6.0928302655794777</c:v>
                </c:pt>
                <c:pt idx="2211">
                  <c:v>5.8876579493914427</c:v>
                </c:pt>
                <c:pt idx="2212">
                  <c:v>5.8876579493914427</c:v>
                </c:pt>
                <c:pt idx="2213">
                  <c:v>5.8130368869862137</c:v>
                </c:pt>
                <c:pt idx="2214">
                  <c:v>5.9148073710442288</c:v>
                </c:pt>
                <c:pt idx="2215">
                  <c:v>6.0282489121001435</c:v>
                </c:pt>
                <c:pt idx="2216">
                  <c:v>6.0627542624876218</c:v>
                </c:pt>
                <c:pt idx="2217">
                  <c:v>6.1507932874155458</c:v>
                </c:pt>
                <c:pt idx="2218">
                  <c:v>6.2418979743809224</c:v>
                </c:pt>
                <c:pt idx="2219">
                  <c:v>6.1229341479918897</c:v>
                </c:pt>
                <c:pt idx="2220">
                  <c:v>6.1359157723677562</c:v>
                </c:pt>
                <c:pt idx="2221">
                  <c:v>5.9815127370637544</c:v>
                </c:pt>
                <c:pt idx="2222">
                  <c:v>5.9264306834013754</c:v>
                </c:pt>
                <c:pt idx="2223">
                  <c:v>6.690066460604994</c:v>
                </c:pt>
                <c:pt idx="2224">
                  <c:v>7.6511296516420728</c:v>
                </c:pt>
                <c:pt idx="2225">
                  <c:v>8.4531599995797215</c:v>
                </c:pt>
                <c:pt idx="2226">
                  <c:v>8.3640294862770439</c:v>
                </c:pt>
                <c:pt idx="2227">
                  <c:v>8.7591426889371586</c:v>
                </c:pt>
                <c:pt idx="2228">
                  <c:v>9.2427245436206373</c:v>
                </c:pt>
                <c:pt idx="2229">
                  <c:v>9.6047703201703776</c:v>
                </c:pt>
                <c:pt idx="2230">
                  <c:v>9.3896534226695234</c:v>
                </c:pt>
                <c:pt idx="2231">
                  <c:v>9.5592099372100794</c:v>
                </c:pt>
                <c:pt idx="2232">
                  <c:v>9.7991660825795677</c:v>
                </c:pt>
                <c:pt idx="2233">
                  <c:v>9.8739365835472714</c:v>
                </c:pt>
                <c:pt idx="2234">
                  <c:v>9.92932011013154</c:v>
                </c:pt>
                <c:pt idx="2235">
                  <c:v>9.7368604597633635</c:v>
                </c:pt>
                <c:pt idx="2236">
                  <c:v>9.5951376575152203</c:v>
                </c:pt>
                <c:pt idx="2237">
                  <c:v>10.016223399205694</c:v>
                </c:pt>
                <c:pt idx="2238">
                  <c:v>9.7535215586832518</c:v>
                </c:pt>
                <c:pt idx="2239">
                  <c:v>9.7759854988189439</c:v>
                </c:pt>
                <c:pt idx="2240">
                  <c:v>9.6124918725583335</c:v>
                </c:pt>
                <c:pt idx="2241">
                  <c:v>9.4620918826493607</c:v>
                </c:pt>
                <c:pt idx="2242">
                  <c:v>9.2951600308978009</c:v>
                </c:pt>
                <c:pt idx="2243">
                  <c:v>8.6053246831962014</c:v>
                </c:pt>
                <c:pt idx="2244">
                  <c:v>8.2844588274983995</c:v>
                </c:pt>
                <c:pt idx="2245">
                  <c:v>7.8142412038148565</c:v>
                </c:pt>
                <c:pt idx="2246">
                  <c:v>6.5736521984210921</c:v>
                </c:pt>
                <c:pt idx="2247">
                  <c:v>6.5703799336962465</c:v>
                </c:pt>
                <c:pt idx="2248">
                  <c:v>6.5257142319104915</c:v>
                </c:pt>
                <c:pt idx="2249">
                  <c:v>6.3371239363725742</c:v>
                </c:pt>
                <c:pt idx="2250">
                  <c:v>6.1521916717208507</c:v>
                </c:pt>
                <c:pt idx="2251">
                  <c:v>5.774061390930699</c:v>
                </c:pt>
                <c:pt idx="2252">
                  <c:v>5.6389581894500322</c:v>
                </c:pt>
                <c:pt idx="2253">
                  <c:v>4.9108175523285391</c:v>
                </c:pt>
                <c:pt idx="2254">
                  <c:v>5.0045140913302051</c:v>
                </c:pt>
                <c:pt idx="2255">
                  <c:v>5.0045140913302051</c:v>
                </c:pt>
                <c:pt idx="2256">
                  <c:v>4.8705831935366106</c:v>
                </c:pt>
                <c:pt idx="2257">
                  <c:v>4.8705831935366115</c:v>
                </c:pt>
                <c:pt idx="2258">
                  <c:v>4.8564334893581256</c:v>
                </c:pt>
                <c:pt idx="2259">
                  <c:v>4.7498726638280155</c:v>
                </c:pt>
                <c:pt idx="2260">
                  <c:v>4.90840840989007</c:v>
                </c:pt>
                <c:pt idx="2261">
                  <c:v>4.9103796143464553</c:v>
                </c:pt>
                <c:pt idx="2262">
                  <c:v>5.0821213080019376</c:v>
                </c:pt>
                <c:pt idx="2263">
                  <c:v>5.0821213080019376</c:v>
                </c:pt>
                <c:pt idx="2264">
                  <c:v>5.2605245251371935</c:v>
                </c:pt>
                <c:pt idx="2265">
                  <c:v>5.4090724265930321</c:v>
                </c:pt>
                <c:pt idx="2266">
                  <c:v>5.6471517228285233</c:v>
                </c:pt>
                <c:pt idx="2267">
                  <c:v>6.0426797445027374</c:v>
                </c:pt>
                <c:pt idx="2268">
                  <c:v>6.6525118548180453</c:v>
                </c:pt>
                <c:pt idx="2269">
                  <c:v>6.8641189552817377</c:v>
                </c:pt>
                <c:pt idx="2270">
                  <c:v>7.0897472542420186</c:v>
                </c:pt>
                <c:pt idx="2271">
                  <c:v>7.3137078544774514</c:v>
                </c:pt>
                <c:pt idx="2272">
                  <c:v>7.579400492648281</c:v>
                </c:pt>
                <c:pt idx="2273">
                  <c:v>7.6198665074525964</c:v>
                </c:pt>
                <c:pt idx="2274">
                  <c:v>7.5579481769301182</c:v>
                </c:pt>
                <c:pt idx="2275">
                  <c:v>21.241013280003639</c:v>
                </c:pt>
                <c:pt idx="2276">
                  <c:v>28.604045130880749</c:v>
                </c:pt>
                <c:pt idx="2277">
                  <c:v>34.12056422783489</c:v>
                </c:pt>
                <c:pt idx="2278">
                  <c:v>38.460956323137928</c:v>
                </c:pt>
                <c:pt idx="2279">
                  <c:v>42.175465527639638</c:v>
                </c:pt>
                <c:pt idx="2280">
                  <c:v>45.319605764687175</c:v>
                </c:pt>
                <c:pt idx="2281">
                  <c:v>48.040395188762474</c:v>
                </c:pt>
                <c:pt idx="2282">
                  <c:v>50.393633323763162</c:v>
                </c:pt>
                <c:pt idx="2283">
                  <c:v>52.467583438042546</c:v>
                </c:pt>
                <c:pt idx="2284">
                  <c:v>54.101875228367142</c:v>
                </c:pt>
                <c:pt idx="2285">
                  <c:v>55.626654862420011</c:v>
                </c:pt>
                <c:pt idx="2286">
                  <c:v>56.643973950864684</c:v>
                </c:pt>
                <c:pt idx="2287">
                  <c:v>57.556741521942115</c:v>
                </c:pt>
                <c:pt idx="2288">
                  <c:v>58.406105145605878</c:v>
                </c:pt>
                <c:pt idx="2289">
                  <c:v>58.888704943244193</c:v>
                </c:pt>
                <c:pt idx="2290">
                  <c:v>59.242748297208927</c:v>
                </c:pt>
                <c:pt idx="2291">
                  <c:v>58.824451795424821</c:v>
                </c:pt>
                <c:pt idx="2292">
                  <c:v>58.298896132967911</c:v>
                </c:pt>
                <c:pt idx="2293">
                  <c:v>57.914712970838622</c:v>
                </c:pt>
                <c:pt idx="2294">
                  <c:v>57.635543842133515</c:v>
                </c:pt>
                <c:pt idx="2295">
                  <c:v>56.945323710319869</c:v>
                </c:pt>
                <c:pt idx="2296">
                  <c:v>56.256402264088351</c:v>
                </c:pt>
                <c:pt idx="2297">
                  <c:v>55.645884988281317</c:v>
                </c:pt>
                <c:pt idx="2298">
                  <c:v>54.552687366661701</c:v>
                </c:pt>
                <c:pt idx="2299">
                  <c:v>53.341625699429756</c:v>
                </c:pt>
                <c:pt idx="2300">
                  <c:v>52.396872598128567</c:v>
                </c:pt>
                <c:pt idx="2301">
                  <c:v>51.202696501573605</c:v>
                </c:pt>
                <c:pt idx="2302">
                  <c:v>50.015825452539765</c:v>
                </c:pt>
                <c:pt idx="2303">
                  <c:v>48.561146467485287</c:v>
                </c:pt>
                <c:pt idx="2304">
                  <c:v>47.226291201460668</c:v>
                </c:pt>
                <c:pt idx="2305">
                  <c:v>46.041566072969466</c:v>
                </c:pt>
                <c:pt idx="2306">
                  <c:v>46.381285621616598</c:v>
                </c:pt>
                <c:pt idx="2307">
                  <c:v>46.253904223470457</c:v>
                </c:pt>
                <c:pt idx="2308">
                  <c:v>45.813178364177674</c:v>
                </c:pt>
                <c:pt idx="2309">
                  <c:v>45.180046028526633</c:v>
                </c:pt>
                <c:pt idx="2310">
                  <c:v>44.443633505146551</c:v>
                </c:pt>
                <c:pt idx="2311">
                  <c:v>43.556834704353413</c:v>
                </c:pt>
                <c:pt idx="2312">
                  <c:v>42.285181318516123</c:v>
                </c:pt>
                <c:pt idx="2313">
                  <c:v>40.709408175242423</c:v>
                </c:pt>
                <c:pt idx="2314">
                  <c:v>39.06889420784335</c:v>
                </c:pt>
                <c:pt idx="2315">
                  <c:v>37.057583786979855</c:v>
                </c:pt>
                <c:pt idx="2316">
                  <c:v>34.659635349793355</c:v>
                </c:pt>
                <c:pt idx="2317">
                  <c:v>31.799100548583514</c:v>
                </c:pt>
                <c:pt idx="2318">
                  <c:v>28.107780272158749</c:v>
                </c:pt>
                <c:pt idx="2319">
                  <c:v>23.613191137559621</c:v>
                </c:pt>
                <c:pt idx="2320">
                  <c:v>17.479265750677172</c:v>
                </c:pt>
                <c:pt idx="2321">
                  <c:v>6.0430356254032187</c:v>
                </c:pt>
                <c:pt idx="2322">
                  <c:v>5.9295142958716474</c:v>
                </c:pt>
                <c:pt idx="2323">
                  <c:v>5.9663933378855933</c:v>
                </c:pt>
                <c:pt idx="2324">
                  <c:v>6.070021523052664</c:v>
                </c:pt>
                <c:pt idx="2325">
                  <c:v>6.1610989104985361</c:v>
                </c:pt>
                <c:pt idx="2326">
                  <c:v>6.1811367573370539</c:v>
                </c:pt>
                <c:pt idx="2327">
                  <c:v>6.2047501747598837</c:v>
                </c:pt>
                <c:pt idx="2328">
                  <c:v>6.2227470336790409</c:v>
                </c:pt>
                <c:pt idx="2329">
                  <c:v>6.2382793326572079</c:v>
                </c:pt>
                <c:pt idx="2330">
                  <c:v>6.295415638741904</c:v>
                </c:pt>
                <c:pt idx="2331">
                  <c:v>6.3056554237113733</c:v>
                </c:pt>
                <c:pt idx="2332">
                  <c:v>6.2594444770514848</c:v>
                </c:pt>
                <c:pt idx="2333">
                  <c:v>6.3020733915321925</c:v>
                </c:pt>
                <c:pt idx="2334">
                  <c:v>6.1044668996589913</c:v>
                </c:pt>
                <c:pt idx="2335">
                  <c:v>6.3165595644450949</c:v>
                </c:pt>
                <c:pt idx="2336">
                  <c:v>6.6158818363932621</c:v>
                </c:pt>
                <c:pt idx="2337">
                  <c:v>6.6004235771539292</c:v>
                </c:pt>
                <c:pt idx="2338">
                  <c:v>6.6942440369175698</c:v>
                </c:pt>
                <c:pt idx="2339">
                  <c:v>6.6931195613380154</c:v>
                </c:pt>
                <c:pt idx="2340">
                  <c:v>6.7713819049899859</c:v>
                </c:pt>
                <c:pt idx="2341">
                  <c:v>6.9109543713282218</c:v>
                </c:pt>
                <c:pt idx="2342">
                  <c:v>6.9087757812581323</c:v>
                </c:pt>
                <c:pt idx="2343">
                  <c:v>6.9059737270192088</c:v>
                </c:pt>
                <c:pt idx="2344">
                  <c:v>7.0373809888903756</c:v>
                </c:pt>
                <c:pt idx="2345">
                  <c:v>6.8138063510234357</c:v>
                </c:pt>
                <c:pt idx="2346">
                  <c:v>6.6731688721100797</c:v>
                </c:pt>
                <c:pt idx="2347">
                  <c:v>6.4128567099846929</c:v>
                </c:pt>
                <c:pt idx="2348">
                  <c:v>6.1889599939288367</c:v>
                </c:pt>
                <c:pt idx="2349">
                  <c:v>6.1143230399251189</c:v>
                </c:pt>
                <c:pt idx="2350">
                  <c:v>6.1626694397522179</c:v>
                </c:pt>
                <c:pt idx="2351">
                  <c:v>6.1399450104363975</c:v>
                </c:pt>
                <c:pt idx="2352">
                  <c:v>6.0075221664713947</c:v>
                </c:pt>
                <c:pt idx="2353">
                  <c:v>5.9967733259295928</c:v>
                </c:pt>
                <c:pt idx="2354">
                  <c:v>5.9985661369134489</c:v>
                </c:pt>
                <c:pt idx="2355">
                  <c:v>5.9870828698392495</c:v>
                </c:pt>
                <c:pt idx="2356">
                  <c:v>5.6886984735157711</c:v>
                </c:pt>
                <c:pt idx="2357">
                  <c:v>5.6886984735157711</c:v>
                </c:pt>
                <c:pt idx="2358">
                  <c:v>5.5972343401062368</c:v>
                </c:pt>
                <c:pt idx="2359">
                  <c:v>5.6873751906428485</c:v>
                </c:pt>
                <c:pt idx="2360">
                  <c:v>5.3999203498705644</c:v>
                </c:pt>
                <c:pt idx="2361">
                  <c:v>5.5916604570258617</c:v>
                </c:pt>
                <c:pt idx="2362">
                  <c:v>5.6141143174941206</c:v>
                </c:pt>
                <c:pt idx="2363">
                  <c:v>5.7205533982994776</c:v>
                </c:pt>
                <c:pt idx="2364">
                  <c:v>5.7766679386232926</c:v>
                </c:pt>
                <c:pt idx="2365">
                  <c:v>5.7490532179851845</c:v>
                </c:pt>
                <c:pt idx="2366">
                  <c:v>6.0193237215252129</c:v>
                </c:pt>
                <c:pt idx="2367">
                  <c:v>5.8841869373753326</c:v>
                </c:pt>
                <c:pt idx="2368">
                  <c:v>5.9423756156094036</c:v>
                </c:pt>
                <c:pt idx="2369">
                  <c:v>5.8900316737925591</c:v>
                </c:pt>
                <c:pt idx="2370">
                  <c:v>5.8900316737925591</c:v>
                </c:pt>
                <c:pt idx="2371">
                  <c:v>5.8991524815010496</c:v>
                </c:pt>
                <c:pt idx="2372">
                  <c:v>5.856528385586703</c:v>
                </c:pt>
                <c:pt idx="2373">
                  <c:v>5.9708971606640331</c:v>
                </c:pt>
                <c:pt idx="2374">
                  <c:v>5.9942624897228951</c:v>
                </c:pt>
                <c:pt idx="2375">
                  <c:v>5.9910327255223343</c:v>
                </c:pt>
                <c:pt idx="2376">
                  <c:v>6.2688854456899117</c:v>
                </c:pt>
                <c:pt idx="2377">
                  <c:v>6.3533921174321897</c:v>
                </c:pt>
                <c:pt idx="2378">
                  <c:v>6.5543222216294978</c:v>
                </c:pt>
                <c:pt idx="2379">
                  <c:v>6.498138691318684</c:v>
                </c:pt>
                <c:pt idx="2380">
                  <c:v>6.5680883783819892</c:v>
                </c:pt>
                <c:pt idx="2381">
                  <c:v>6.447138233189162</c:v>
                </c:pt>
                <c:pt idx="2382">
                  <c:v>6.3923677609628999</c:v>
                </c:pt>
                <c:pt idx="2383">
                  <c:v>6.4526397032365708</c:v>
                </c:pt>
                <c:pt idx="2384">
                  <c:v>6.4586359623858396</c:v>
                </c:pt>
                <c:pt idx="2385">
                  <c:v>6.6256263651961849</c:v>
                </c:pt>
                <c:pt idx="2386">
                  <c:v>6.6630097497100484</c:v>
                </c:pt>
                <c:pt idx="2387">
                  <c:v>6.8445096119413105</c:v>
                </c:pt>
                <c:pt idx="2388">
                  <c:v>6.934873691588014</c:v>
                </c:pt>
                <c:pt idx="2389">
                  <c:v>7.1121583010310427</c:v>
                </c:pt>
                <c:pt idx="2390">
                  <c:v>7.0282073763322588</c:v>
                </c:pt>
                <c:pt idx="2391">
                  <c:v>6.8835162307446289</c:v>
                </c:pt>
                <c:pt idx="2392">
                  <c:v>6.7662985227467418</c:v>
                </c:pt>
                <c:pt idx="2393">
                  <c:v>6.6979374132189262</c:v>
                </c:pt>
                <c:pt idx="2394">
                  <c:v>6.6022153336458178</c:v>
                </c:pt>
                <c:pt idx="2395">
                  <c:v>6.6767128606565</c:v>
                </c:pt>
                <c:pt idx="2396">
                  <c:v>6.6767128606565009</c:v>
                </c:pt>
                <c:pt idx="2397">
                  <c:v>6.6321147635244628</c:v>
                </c:pt>
                <c:pt idx="2398">
                  <c:v>6.6321147635244628</c:v>
                </c:pt>
                <c:pt idx="2399">
                  <c:v>6.5052501542901853</c:v>
                </c:pt>
                <c:pt idx="2400">
                  <c:v>6.6781621320813702</c:v>
                </c:pt>
                <c:pt idx="2401">
                  <c:v>6.9511351281565865</c:v>
                </c:pt>
                <c:pt idx="2402">
                  <c:v>6.9511351281565865</c:v>
                </c:pt>
                <c:pt idx="2403">
                  <c:v>6.80733317432286</c:v>
                </c:pt>
                <c:pt idx="2404">
                  <c:v>6.6064484627008619</c:v>
                </c:pt>
                <c:pt idx="2405">
                  <c:v>6.7513439522283516</c:v>
                </c:pt>
                <c:pt idx="2406">
                  <c:v>6.5140047639310286</c:v>
                </c:pt>
                <c:pt idx="2407">
                  <c:v>6.3814246563883588</c:v>
                </c:pt>
                <c:pt idx="2408">
                  <c:v>6.4546390752231719</c:v>
                </c:pt>
                <c:pt idx="2409">
                  <c:v>6.2656256284691176</c:v>
                </c:pt>
                <c:pt idx="2410">
                  <c:v>6.231208308927517</c:v>
                </c:pt>
                <c:pt idx="2411">
                  <c:v>6.3138352947342753</c:v>
                </c:pt>
                <c:pt idx="2412">
                  <c:v>6.3180914499469285</c:v>
                </c:pt>
                <c:pt idx="2413">
                  <c:v>6.3962354519661995</c:v>
                </c:pt>
                <c:pt idx="2414">
                  <c:v>6.3027558403285546</c:v>
                </c:pt>
                <c:pt idx="2415">
                  <c:v>6.4857163157998414</c:v>
                </c:pt>
                <c:pt idx="2416">
                  <c:v>6.4111797515318214</c:v>
                </c:pt>
                <c:pt idx="2417">
                  <c:v>6.3186019959161612</c:v>
                </c:pt>
                <c:pt idx="2418">
                  <c:v>6.1467711604487709</c:v>
                </c:pt>
                <c:pt idx="2419">
                  <c:v>6.280709500363554</c:v>
                </c:pt>
                <c:pt idx="2420">
                  <c:v>5.9937243165494101</c:v>
                </c:pt>
                <c:pt idx="2421">
                  <c:v>5.9937243165494101</c:v>
                </c:pt>
                <c:pt idx="2422">
                  <c:v>5.959180141344046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pt idx="2452">
                  <c:v>#N/A</c:v>
                </c:pt>
              </c:numCache>
            </c:numRef>
          </c:val>
          <c:smooth val="0"/>
          <c:extLst>
            <c:ext xmlns:c16="http://schemas.microsoft.com/office/drawing/2014/chart" uri="{C3380CC4-5D6E-409C-BE32-E72D297353CC}">
              <c16:uniqueId val="{00000006-BF3F-43A4-B953-054E6028043D}"/>
            </c:ext>
          </c:extLst>
        </c:ser>
        <c:ser>
          <c:idx val="3"/>
          <c:order val="3"/>
          <c:tx>
            <c:strRef>
              <c:f>'Data Repository Table'!$F$1</c:f>
              <c:strCache>
                <c:ptCount val="1"/>
                <c:pt idx="0">
                  <c:v>Pump Torque </c:v>
                </c:pt>
              </c:strCache>
            </c:strRef>
          </c:tx>
          <c:spPr>
            <a:ln w="28575" cap="rnd">
              <a:solidFill>
                <a:schemeClr val="accent4"/>
              </a:solidFill>
              <a:round/>
            </a:ln>
            <a:effectLst/>
          </c:spPr>
          <c:marker>
            <c:symbol val="none"/>
          </c:marker>
          <c:val>
            <c:numRef>
              <c:f>'Data Repository Table'!$F$4908:$F$7360</c:f>
              <c:numCache>
                <c:formatCode>General</c:formatCode>
                <c:ptCount val="2453"/>
                <c:pt idx="0">
                  <c:v>11.555569341044986</c:v>
                </c:pt>
                <c:pt idx="1">
                  <c:v>11.855673293715201</c:v>
                </c:pt>
                <c:pt idx="2">
                  <c:v>11.929722526944728</c:v>
                </c:pt>
                <c:pt idx="3">
                  <c:v>12.296865585416734</c:v>
                </c:pt>
                <c:pt idx="4">
                  <c:v>12.26639784651681</c:v>
                </c:pt>
                <c:pt idx="5">
                  <c:v>12.286017929302389</c:v>
                </c:pt>
                <c:pt idx="6">
                  <c:v>11.968956261031899</c:v>
                </c:pt>
                <c:pt idx="7">
                  <c:v>12.004748164564871</c:v>
                </c:pt>
                <c:pt idx="8">
                  <c:v>12.39771050663999</c:v>
                </c:pt>
                <c:pt idx="9">
                  <c:v>12.29319245131879</c:v>
                </c:pt>
                <c:pt idx="10">
                  <c:v>12.540000514482676</c:v>
                </c:pt>
                <c:pt idx="11">
                  <c:v>12.529191720190507</c:v>
                </c:pt>
                <c:pt idx="12">
                  <c:v>12.520263146088899</c:v>
                </c:pt>
                <c:pt idx="13">
                  <c:v>12.303771604631027</c:v>
                </c:pt>
                <c:pt idx="14">
                  <c:v>12.076726039285523</c:v>
                </c:pt>
                <c:pt idx="15">
                  <c:v>12.385735812332801</c:v>
                </c:pt>
                <c:pt idx="16">
                  <c:v>12.213336620180803</c:v>
                </c:pt>
                <c:pt idx="17">
                  <c:v>12.209286083414815</c:v>
                </c:pt>
                <c:pt idx="18">
                  <c:v>12.119122009434921</c:v>
                </c:pt>
                <c:pt idx="19">
                  <c:v>11.721315937719108</c:v>
                </c:pt>
                <c:pt idx="20">
                  <c:v>12.069511932119289</c:v>
                </c:pt>
                <c:pt idx="21">
                  <c:v>11.647511155995183</c:v>
                </c:pt>
                <c:pt idx="22">
                  <c:v>11.388732405603864</c:v>
                </c:pt>
                <c:pt idx="23">
                  <c:v>11.163689219485075</c:v>
                </c:pt>
                <c:pt idx="24">
                  <c:v>11.303058868507508</c:v>
                </c:pt>
                <c:pt idx="25">
                  <c:v>10.98082395012578</c:v>
                </c:pt>
                <c:pt idx="26">
                  <c:v>11.375223027472085</c:v>
                </c:pt>
                <c:pt idx="27">
                  <c:v>11.426718359753087</c:v>
                </c:pt>
                <c:pt idx="28">
                  <c:v>11.166867274718673</c:v>
                </c:pt>
                <c:pt idx="29">
                  <c:v>11.021484395469145</c:v>
                </c:pt>
                <c:pt idx="30">
                  <c:v>10.806907388879946</c:v>
                </c:pt>
                <c:pt idx="31">
                  <c:v>10.969557092047923</c:v>
                </c:pt>
                <c:pt idx="32">
                  <c:v>10.384956033992488</c:v>
                </c:pt>
                <c:pt idx="33">
                  <c:v>10.654798505030291</c:v>
                </c:pt>
                <c:pt idx="34">
                  <c:v>10.698407076686447</c:v>
                </c:pt>
                <c:pt idx="35">
                  <c:v>10.915117266719427</c:v>
                </c:pt>
                <c:pt idx="36">
                  <c:v>11.133597318356355</c:v>
                </c:pt>
                <c:pt idx="37">
                  <c:v>10.947479702102992</c:v>
                </c:pt>
                <c:pt idx="38">
                  <c:v>10.923881306371783</c:v>
                </c:pt>
                <c:pt idx="39">
                  <c:v>10.923881306371783</c:v>
                </c:pt>
                <c:pt idx="40">
                  <c:v>11.054410884348384</c:v>
                </c:pt>
                <c:pt idx="41">
                  <c:v>10.423608439653988</c:v>
                </c:pt>
                <c:pt idx="42">
                  <c:v>10.739135545194712</c:v>
                </c:pt>
                <c:pt idx="43">
                  <c:v>11.116586464542788</c:v>
                </c:pt>
                <c:pt idx="44">
                  <c:v>11.513433014741791</c:v>
                </c:pt>
                <c:pt idx="45">
                  <c:v>11.671581146169226</c:v>
                </c:pt>
                <c:pt idx="46">
                  <c:v>11.361792225729406</c:v>
                </c:pt>
                <c:pt idx="47">
                  <c:v>11.502126965530454</c:v>
                </c:pt>
                <c:pt idx="48">
                  <c:v>11.728010767352654</c:v>
                </c:pt>
                <c:pt idx="49">
                  <c:v>12.06211522312376</c:v>
                </c:pt>
                <c:pt idx="50">
                  <c:v>12.551142688843074</c:v>
                </c:pt>
                <c:pt idx="51">
                  <c:v>12.208493429901864</c:v>
                </c:pt>
                <c:pt idx="52">
                  <c:v>12.208493429901864</c:v>
                </c:pt>
                <c:pt idx="53">
                  <c:v>12.438407393819501</c:v>
                </c:pt>
                <c:pt idx="54">
                  <c:v>12.364186923513</c:v>
                </c:pt>
                <c:pt idx="55">
                  <c:v>12.286017929302389</c:v>
                </c:pt>
                <c:pt idx="56">
                  <c:v>12.243936397034398</c:v>
                </c:pt>
                <c:pt idx="57">
                  <c:v>11.859844601785245</c:v>
                </c:pt>
                <c:pt idx="58">
                  <c:v>11.964912861569292</c:v>
                </c:pt>
                <c:pt idx="59">
                  <c:v>12.18998354899346</c:v>
                </c:pt>
                <c:pt idx="60">
                  <c:v>12.049807030088306</c:v>
                </c:pt>
                <c:pt idx="61">
                  <c:v>12.578271074587574</c:v>
                </c:pt>
                <c:pt idx="62">
                  <c:v>12.78725844325607</c:v>
                </c:pt>
                <c:pt idx="63">
                  <c:v>13.173694871187042</c:v>
                </c:pt>
                <c:pt idx="64">
                  <c:v>13.19278069118074</c:v>
                </c:pt>
                <c:pt idx="65">
                  <c:v>12.860207861327869</c:v>
                </c:pt>
                <c:pt idx="66">
                  <c:v>12.657948329566624</c:v>
                </c:pt>
                <c:pt idx="67">
                  <c:v>12.5123594811269</c:v>
                </c:pt>
                <c:pt idx="68">
                  <c:v>12.465867377056666</c:v>
                </c:pt>
                <c:pt idx="69">
                  <c:v>12.336587771724496</c:v>
                </c:pt>
                <c:pt idx="70">
                  <c:v>12.010658349087059</c:v>
                </c:pt>
                <c:pt idx="71">
                  <c:v>11.948095632665142</c:v>
                </c:pt>
                <c:pt idx="72">
                  <c:v>12.03158924602009</c:v>
                </c:pt>
                <c:pt idx="73">
                  <c:v>11.586050195808102</c:v>
                </c:pt>
                <c:pt idx="74">
                  <c:v>11.658399528661405</c:v>
                </c:pt>
                <c:pt idx="75">
                  <c:v>11.901567620610193</c:v>
                </c:pt>
                <c:pt idx="76">
                  <c:v>12.118678376431891</c:v>
                </c:pt>
                <c:pt idx="77">
                  <c:v>12.04927160605815</c:v>
                </c:pt>
                <c:pt idx="78">
                  <c:v>11.820066772003601</c:v>
                </c:pt>
                <c:pt idx="79">
                  <c:v>11.850230250473924</c:v>
                </c:pt>
                <c:pt idx="80">
                  <c:v>11.655540009078337</c:v>
                </c:pt>
                <c:pt idx="81">
                  <c:v>11.447777640364343</c:v>
                </c:pt>
                <c:pt idx="82">
                  <c:v>11.923321324104682</c:v>
                </c:pt>
                <c:pt idx="83">
                  <c:v>12.143496865772734</c:v>
                </c:pt>
                <c:pt idx="84">
                  <c:v>12.051413159450846</c:v>
                </c:pt>
                <c:pt idx="85">
                  <c:v>11.950885151903121</c:v>
                </c:pt>
                <c:pt idx="86">
                  <c:v>12.249467840097847</c:v>
                </c:pt>
                <c:pt idx="87">
                  <c:v>12.545058573942805</c:v>
                </c:pt>
                <c:pt idx="88">
                  <c:v>12.927340369629714</c:v>
                </c:pt>
                <c:pt idx="89">
                  <c:v>12.728175502125323</c:v>
                </c:pt>
                <c:pt idx="90">
                  <c:v>12.290305647266296</c:v>
                </c:pt>
                <c:pt idx="91">
                  <c:v>12.972841772561399</c:v>
                </c:pt>
                <c:pt idx="92">
                  <c:v>12.753915696420368</c:v>
                </c:pt>
                <c:pt idx="93">
                  <c:v>12.83744522870497</c:v>
                </c:pt>
                <c:pt idx="94">
                  <c:v>12.834680839742939</c:v>
                </c:pt>
                <c:pt idx="95">
                  <c:v>12.571601381300736</c:v>
                </c:pt>
                <c:pt idx="96">
                  <c:v>12.586218781898179</c:v>
                </c:pt>
                <c:pt idx="97">
                  <c:v>12.561419000727106</c:v>
                </c:pt>
                <c:pt idx="98">
                  <c:v>12.546858408142594</c:v>
                </c:pt>
                <c:pt idx="99">
                  <c:v>12.465522344122927</c:v>
                </c:pt>
                <c:pt idx="100">
                  <c:v>12.471214166860376</c:v>
                </c:pt>
                <c:pt idx="101">
                  <c:v>12.286630552050495</c:v>
                </c:pt>
                <c:pt idx="102">
                  <c:v>12.457152369674633</c:v>
                </c:pt>
                <c:pt idx="103">
                  <c:v>12.579553302495386</c:v>
                </c:pt>
                <c:pt idx="104">
                  <c:v>13.080314356158036</c:v>
                </c:pt>
                <c:pt idx="105">
                  <c:v>12.934159157760492</c:v>
                </c:pt>
                <c:pt idx="106">
                  <c:v>12.478713057438755</c:v>
                </c:pt>
                <c:pt idx="107">
                  <c:v>12.478713057438753</c:v>
                </c:pt>
                <c:pt idx="108">
                  <c:v>12.478713057438753</c:v>
                </c:pt>
                <c:pt idx="109">
                  <c:v>12.355748303078702</c:v>
                </c:pt>
                <c:pt idx="110">
                  <c:v>12.305519349121877</c:v>
                </c:pt>
                <c:pt idx="111">
                  <c:v>12.85928809548105</c:v>
                </c:pt>
                <c:pt idx="112">
                  <c:v>13.000496268443234</c:v>
                </c:pt>
                <c:pt idx="113">
                  <c:v>13.000496268443234</c:v>
                </c:pt>
                <c:pt idx="114">
                  <c:v>13.187563382103203</c:v>
                </c:pt>
                <c:pt idx="115">
                  <c:v>13.307124779323033</c:v>
                </c:pt>
                <c:pt idx="116">
                  <c:v>13.544192899184603</c:v>
                </c:pt>
                <c:pt idx="117">
                  <c:v>13.105691121987663</c:v>
                </c:pt>
                <c:pt idx="118">
                  <c:v>13.025037923293191</c:v>
                </c:pt>
                <c:pt idx="119">
                  <c:v>12.970189144789405</c:v>
                </c:pt>
                <c:pt idx="120">
                  <c:v>12.891107212388327</c:v>
                </c:pt>
                <c:pt idx="121">
                  <c:v>12.86171279083694</c:v>
                </c:pt>
                <c:pt idx="122">
                  <c:v>12.416083915025148</c:v>
                </c:pt>
                <c:pt idx="123">
                  <c:v>12.603805535571176</c:v>
                </c:pt>
                <c:pt idx="124">
                  <c:v>12.083045973594572</c:v>
                </c:pt>
                <c:pt idx="125">
                  <c:v>12.125331167187907</c:v>
                </c:pt>
                <c:pt idx="126">
                  <c:v>12.230404559904171</c:v>
                </c:pt>
                <c:pt idx="127">
                  <c:v>12.554911646507628</c:v>
                </c:pt>
                <c:pt idx="128">
                  <c:v>12.5623605753778</c:v>
                </c:pt>
                <c:pt idx="129">
                  <c:v>12.531851891398853</c:v>
                </c:pt>
                <c:pt idx="130">
                  <c:v>12.716681111619636</c:v>
                </c:pt>
                <c:pt idx="131">
                  <c:v>13.14329625927757</c:v>
                </c:pt>
                <c:pt idx="132">
                  <c:v>13.392904557007727</c:v>
                </c:pt>
                <c:pt idx="133">
                  <c:v>13.236557392800563</c:v>
                </c:pt>
                <c:pt idx="134">
                  <c:v>13.19538857214491</c:v>
                </c:pt>
                <c:pt idx="135">
                  <c:v>12.572969811960622</c:v>
                </c:pt>
                <c:pt idx="136">
                  <c:v>12.525157479747437</c:v>
                </c:pt>
                <c:pt idx="137">
                  <c:v>12.662789446213651</c:v>
                </c:pt>
                <c:pt idx="138">
                  <c:v>12.45991421983279</c:v>
                </c:pt>
                <c:pt idx="139">
                  <c:v>12.505138728684937</c:v>
                </c:pt>
                <c:pt idx="140">
                  <c:v>12.7267392710434</c:v>
                </c:pt>
                <c:pt idx="141">
                  <c:v>12.870822216009707</c:v>
                </c:pt>
                <c:pt idx="142">
                  <c:v>12.324728180823415</c:v>
                </c:pt>
                <c:pt idx="143">
                  <c:v>12.117081163134072</c:v>
                </c:pt>
                <c:pt idx="144">
                  <c:v>11.768282505033586</c:v>
                </c:pt>
                <c:pt idx="145">
                  <c:v>11.127704455619448</c:v>
                </c:pt>
                <c:pt idx="146">
                  <c:v>11.22104397803472</c:v>
                </c:pt>
                <c:pt idx="147">
                  <c:v>10.800338505248668</c:v>
                </c:pt>
                <c:pt idx="148">
                  <c:v>10.732925925614655</c:v>
                </c:pt>
                <c:pt idx="149">
                  <c:v>11.365104108535453</c:v>
                </c:pt>
                <c:pt idx="150">
                  <c:v>10.645610938695089</c:v>
                </c:pt>
                <c:pt idx="151">
                  <c:v>10.623771276200943</c:v>
                </c:pt>
                <c:pt idx="152">
                  <c:v>10.7879861494762</c:v>
                </c:pt>
                <c:pt idx="153">
                  <c:v>10.773324284037505</c:v>
                </c:pt>
                <c:pt idx="154">
                  <c:v>10.239497635526705</c:v>
                </c:pt>
                <c:pt idx="155">
                  <c:v>10.280579875699873</c:v>
                </c:pt>
                <c:pt idx="156">
                  <c:v>10.161597537598555</c:v>
                </c:pt>
                <c:pt idx="157">
                  <c:v>10.648842634876598</c:v>
                </c:pt>
                <c:pt idx="158">
                  <c:v>10.537184541637114</c:v>
                </c:pt>
                <c:pt idx="159">
                  <c:v>10.687647376837097</c:v>
                </c:pt>
                <c:pt idx="160">
                  <c:v>10.61881065774064</c:v>
                </c:pt>
                <c:pt idx="161">
                  <c:v>10.801533144862812</c:v>
                </c:pt>
                <c:pt idx="162">
                  <c:v>10.405436957647185</c:v>
                </c:pt>
                <c:pt idx="163">
                  <c:v>10.177880295613029</c:v>
                </c:pt>
                <c:pt idx="164">
                  <c:v>10.235716510001549</c:v>
                </c:pt>
                <c:pt idx="165">
                  <c:v>10.728116009732538</c:v>
                </c:pt>
                <c:pt idx="166">
                  <c:v>10.791573773835262</c:v>
                </c:pt>
                <c:pt idx="167">
                  <c:v>11.116683190650452</c:v>
                </c:pt>
                <c:pt idx="168">
                  <c:v>11.30467597610525</c:v>
                </c:pt>
                <c:pt idx="169">
                  <c:v>11.59597631364719</c:v>
                </c:pt>
                <c:pt idx="170">
                  <c:v>11.486504470300639</c:v>
                </c:pt>
                <c:pt idx="171">
                  <c:v>11.679317257995146</c:v>
                </c:pt>
                <c:pt idx="172">
                  <c:v>11.561430130683084</c:v>
                </c:pt>
                <c:pt idx="173">
                  <c:v>11.625703817288302</c:v>
                </c:pt>
                <c:pt idx="174">
                  <c:v>11.374088643628475</c:v>
                </c:pt>
                <c:pt idx="175">
                  <c:v>11.354218580329182</c:v>
                </c:pt>
                <c:pt idx="176">
                  <c:v>11.885384536959579</c:v>
                </c:pt>
                <c:pt idx="177">
                  <c:v>11.539460116701573</c:v>
                </c:pt>
                <c:pt idx="178">
                  <c:v>11.771205984204872</c:v>
                </c:pt>
                <c:pt idx="179">
                  <c:v>11.772119422556193</c:v>
                </c:pt>
                <c:pt idx="180">
                  <c:v>11.611358917627966</c:v>
                </c:pt>
                <c:pt idx="181">
                  <c:v>11.779059239138743</c:v>
                </c:pt>
                <c:pt idx="182">
                  <c:v>11.984308737427389</c:v>
                </c:pt>
                <c:pt idx="183">
                  <c:v>11.884841705533626</c:v>
                </c:pt>
                <c:pt idx="184">
                  <c:v>12.422750548199691</c:v>
                </c:pt>
                <c:pt idx="185">
                  <c:v>12.812712101575116</c:v>
                </c:pt>
                <c:pt idx="186">
                  <c:v>12.893776109642646</c:v>
                </c:pt>
                <c:pt idx="187">
                  <c:v>12.970935251180716</c:v>
                </c:pt>
                <c:pt idx="188">
                  <c:v>12.700012700019048</c:v>
                </c:pt>
                <c:pt idx="189">
                  <c:v>13.181773013708977</c:v>
                </c:pt>
                <c:pt idx="190">
                  <c:v>13.439630051232006</c:v>
                </c:pt>
                <c:pt idx="191">
                  <c:v>13.558158278836343</c:v>
                </c:pt>
                <c:pt idx="192">
                  <c:v>13.563391589047683</c:v>
                </c:pt>
                <c:pt idx="193">
                  <c:v>13.985399452624238</c:v>
                </c:pt>
                <c:pt idx="194">
                  <c:v>14.152396354704216</c:v>
                </c:pt>
                <c:pt idx="195">
                  <c:v>14.570628874775846</c:v>
                </c:pt>
                <c:pt idx="196">
                  <c:v>14.227869062671196</c:v>
                </c:pt>
                <c:pt idx="197">
                  <c:v>14.604462420118216</c:v>
                </c:pt>
                <c:pt idx="198">
                  <c:v>14.426677796986546</c:v>
                </c:pt>
                <c:pt idx="199">
                  <c:v>14.602989824962455</c:v>
                </c:pt>
                <c:pt idx="200">
                  <c:v>14.240484466810193</c:v>
                </c:pt>
                <c:pt idx="201">
                  <c:v>14.385626039875351</c:v>
                </c:pt>
                <c:pt idx="202">
                  <c:v>14.429062667490415</c:v>
                </c:pt>
                <c:pt idx="203">
                  <c:v>14.309632818414643</c:v>
                </c:pt>
                <c:pt idx="204">
                  <c:v>14.441651232548883</c:v>
                </c:pt>
                <c:pt idx="205">
                  <c:v>14.361687384013381</c:v>
                </c:pt>
                <c:pt idx="206">
                  <c:v>14.730919862656235</c:v>
                </c:pt>
                <c:pt idx="207">
                  <c:v>14.368199653760472</c:v>
                </c:pt>
                <c:pt idx="208">
                  <c:v>14.28850203214391</c:v>
                </c:pt>
                <c:pt idx="209">
                  <c:v>14.085071789374306</c:v>
                </c:pt>
                <c:pt idx="210">
                  <c:v>14.373437268960101</c:v>
                </c:pt>
                <c:pt idx="211">
                  <c:v>13.939577753898766</c:v>
                </c:pt>
                <c:pt idx="212">
                  <c:v>14.202756055424329</c:v>
                </c:pt>
                <c:pt idx="213">
                  <c:v>14.794579071148767</c:v>
                </c:pt>
                <c:pt idx="214">
                  <c:v>15.766917863829038</c:v>
                </c:pt>
                <c:pt idx="215">
                  <c:v>15.700900597414545</c:v>
                </c:pt>
                <c:pt idx="216">
                  <c:v>16.632265572209825</c:v>
                </c:pt>
                <c:pt idx="217">
                  <c:v>17.851116648305165</c:v>
                </c:pt>
                <c:pt idx="218">
                  <c:v>18.983297695549354</c:v>
                </c:pt>
                <c:pt idx="219">
                  <c:v>19.999139766446191</c:v>
                </c:pt>
                <c:pt idx="220">
                  <c:v>19.923509644616832</c:v>
                </c:pt>
                <c:pt idx="221">
                  <c:v>20.342233201222111</c:v>
                </c:pt>
                <c:pt idx="222">
                  <c:v>20.613180875509038</c:v>
                </c:pt>
                <c:pt idx="223">
                  <c:v>20.742351874614471</c:v>
                </c:pt>
                <c:pt idx="224">
                  <c:v>20.103388683481693</c:v>
                </c:pt>
                <c:pt idx="225">
                  <c:v>20.463867974386424</c:v>
                </c:pt>
                <c:pt idx="226">
                  <c:v>19.978483049176596</c:v>
                </c:pt>
                <c:pt idx="227">
                  <c:v>19.522140725202849</c:v>
                </c:pt>
                <c:pt idx="228">
                  <c:v>18.634976940994534</c:v>
                </c:pt>
                <c:pt idx="229">
                  <c:v>18.6971908648481</c:v>
                </c:pt>
                <c:pt idx="230">
                  <c:v>17.709544234373936</c:v>
                </c:pt>
                <c:pt idx="231">
                  <c:v>17.666747818843842</c:v>
                </c:pt>
                <c:pt idx="232">
                  <c:v>17.611885038906422</c:v>
                </c:pt>
                <c:pt idx="233">
                  <c:v>17.609748033587863</c:v>
                </c:pt>
                <c:pt idx="234">
                  <c:v>17.178193228062291</c:v>
                </c:pt>
                <c:pt idx="235">
                  <c:v>15.837684744447845</c:v>
                </c:pt>
                <c:pt idx="236">
                  <c:v>15.205191529946795</c:v>
                </c:pt>
                <c:pt idx="237">
                  <c:v>15.376773435617842</c:v>
                </c:pt>
                <c:pt idx="238">
                  <c:v>14.254295711698953</c:v>
                </c:pt>
                <c:pt idx="239">
                  <c:v>12.908361881029405</c:v>
                </c:pt>
                <c:pt idx="240">
                  <c:v>12.124887761369438</c:v>
                </c:pt>
                <c:pt idx="241">
                  <c:v>9.1007502940130429</c:v>
                </c:pt>
                <c:pt idx="242">
                  <c:v>7.0226974568104863</c:v>
                </c:pt>
                <c:pt idx="243">
                  <c:v>6.7526179710069183</c:v>
                </c:pt>
                <c:pt idx="244">
                  <c:v>6.6953683236433923</c:v>
                </c:pt>
                <c:pt idx="245">
                  <c:v>6.9177969020848415</c:v>
                </c:pt>
                <c:pt idx="246">
                  <c:v>6.9177969020848407</c:v>
                </c:pt>
                <c:pt idx="247">
                  <c:v>6.841995558739165</c:v>
                </c:pt>
                <c:pt idx="248">
                  <c:v>6.8419955587391641</c:v>
                </c:pt>
                <c:pt idx="249">
                  <c:v>6.6004235771539292</c:v>
                </c:pt>
                <c:pt idx="250">
                  <c:v>6.4434679769431984</c:v>
                </c:pt>
                <c:pt idx="251">
                  <c:v>6.5976535418332265</c:v>
                </c:pt>
                <c:pt idx="252">
                  <c:v>6.6742967089529204</c:v>
                </c:pt>
                <c:pt idx="253">
                  <c:v>6.7099669085606148</c:v>
                </c:pt>
                <c:pt idx="254">
                  <c:v>6.6014009591643417</c:v>
                </c:pt>
                <c:pt idx="255">
                  <c:v>6.5950453869487502</c:v>
                </c:pt>
                <c:pt idx="256">
                  <c:v>6.5950453869487493</c:v>
                </c:pt>
                <c:pt idx="257">
                  <c:v>8.3613293175779901</c:v>
                </c:pt>
                <c:pt idx="258">
                  <c:v>9.7914819245898563</c:v>
                </c:pt>
                <c:pt idx="259">
                  <c:v>10.344080432788601</c:v>
                </c:pt>
                <c:pt idx="260">
                  <c:v>10.397787192216606</c:v>
                </c:pt>
                <c:pt idx="261">
                  <c:v>11.948185627322092</c:v>
                </c:pt>
                <c:pt idx="262">
                  <c:v>13.613639586668178</c:v>
                </c:pt>
                <c:pt idx="263">
                  <c:v>13.681712148405548</c:v>
                </c:pt>
                <c:pt idx="264">
                  <c:v>14.260480017256805</c:v>
                </c:pt>
                <c:pt idx="265">
                  <c:v>14.149052933844416</c:v>
                </c:pt>
                <c:pt idx="266">
                  <c:v>14.150344803732388</c:v>
                </c:pt>
                <c:pt idx="267">
                  <c:v>14.264626524815611</c:v>
                </c:pt>
                <c:pt idx="268">
                  <c:v>14.235575608426439</c:v>
                </c:pt>
                <c:pt idx="269">
                  <c:v>14.40183680041565</c:v>
                </c:pt>
                <c:pt idx="270">
                  <c:v>14.697157943388349</c:v>
                </c:pt>
                <c:pt idx="271">
                  <c:v>14.750979555590954</c:v>
                </c:pt>
                <c:pt idx="272">
                  <c:v>15.660511259318</c:v>
                </c:pt>
                <c:pt idx="273">
                  <c:v>15.126136320951231</c:v>
                </c:pt>
                <c:pt idx="274">
                  <c:v>14.881033609609336</c:v>
                </c:pt>
                <c:pt idx="275">
                  <c:v>14.833266883987928</c:v>
                </c:pt>
                <c:pt idx="276">
                  <c:v>14.777343891008233</c:v>
                </c:pt>
                <c:pt idx="277">
                  <c:v>14.706958341408125</c:v>
                </c:pt>
                <c:pt idx="278">
                  <c:v>15.348566533186606</c:v>
                </c:pt>
                <c:pt idx="279">
                  <c:v>14.440385423623418</c:v>
                </c:pt>
                <c:pt idx="280">
                  <c:v>14.056414752664519</c:v>
                </c:pt>
                <c:pt idx="281">
                  <c:v>14.843556945547078</c:v>
                </c:pt>
                <c:pt idx="282">
                  <c:v>15.411837372059042</c:v>
                </c:pt>
                <c:pt idx="283">
                  <c:v>15.226533151967226</c:v>
                </c:pt>
                <c:pt idx="284">
                  <c:v>14.504652572073526</c:v>
                </c:pt>
                <c:pt idx="285">
                  <c:v>14.331032573532722</c:v>
                </c:pt>
                <c:pt idx="286">
                  <c:v>13.527749258468683</c:v>
                </c:pt>
                <c:pt idx="287">
                  <c:v>12.703991414097475</c:v>
                </c:pt>
                <c:pt idx="288">
                  <c:v>12.865892226958026</c:v>
                </c:pt>
                <c:pt idx="289">
                  <c:v>13.092885698499721</c:v>
                </c:pt>
                <c:pt idx="290">
                  <c:v>13.119959349530522</c:v>
                </c:pt>
                <c:pt idx="291">
                  <c:v>13.20084715430786</c:v>
                </c:pt>
                <c:pt idx="292">
                  <c:v>13.140268896284683</c:v>
                </c:pt>
                <c:pt idx="293">
                  <c:v>12.763691784001574</c:v>
                </c:pt>
                <c:pt idx="294">
                  <c:v>12.691712646151153</c:v>
                </c:pt>
                <c:pt idx="295">
                  <c:v>13.292086739578293</c:v>
                </c:pt>
                <c:pt idx="296">
                  <c:v>13.568939863978251</c:v>
                </c:pt>
                <c:pt idx="297">
                  <c:v>13.37498869459878</c:v>
                </c:pt>
                <c:pt idx="298">
                  <c:v>13.357612303537371</c:v>
                </c:pt>
                <c:pt idx="299">
                  <c:v>13.426021917013584</c:v>
                </c:pt>
                <c:pt idx="300">
                  <c:v>13.53196136909294</c:v>
                </c:pt>
                <c:pt idx="301">
                  <c:v>13.989089450565176</c:v>
                </c:pt>
                <c:pt idx="302">
                  <c:v>13.921129604395098</c:v>
                </c:pt>
                <c:pt idx="303">
                  <c:v>13.781864349435333</c:v>
                </c:pt>
                <c:pt idx="304">
                  <c:v>13.524569438419238</c:v>
                </c:pt>
                <c:pt idx="305">
                  <c:v>13.809923189309332</c:v>
                </c:pt>
                <c:pt idx="306">
                  <c:v>13.862147733484383</c:v>
                </c:pt>
                <c:pt idx="307">
                  <c:v>13.856096053703668</c:v>
                </c:pt>
                <c:pt idx="308">
                  <c:v>13.475266071544738</c:v>
                </c:pt>
                <c:pt idx="309">
                  <c:v>13.438989977409138</c:v>
                </c:pt>
                <c:pt idx="310">
                  <c:v>13.34843231099781</c:v>
                </c:pt>
                <c:pt idx="311">
                  <c:v>13.037827512149375</c:v>
                </c:pt>
                <c:pt idx="312">
                  <c:v>12.734425444355526</c:v>
                </c:pt>
                <c:pt idx="313">
                  <c:v>12.635757420566362</c:v>
                </c:pt>
                <c:pt idx="314">
                  <c:v>12.393373185889756</c:v>
                </c:pt>
                <c:pt idx="315">
                  <c:v>12.664148023506767</c:v>
                </c:pt>
                <c:pt idx="316">
                  <c:v>12.103851693012915</c:v>
                </c:pt>
                <c:pt idx="317">
                  <c:v>12.153321595615397</c:v>
                </c:pt>
                <c:pt idx="318">
                  <c:v>11.511004552446829</c:v>
                </c:pt>
                <c:pt idx="319">
                  <c:v>12.371663773160384</c:v>
                </c:pt>
                <c:pt idx="320">
                  <c:v>11.532842304172167</c:v>
                </c:pt>
                <c:pt idx="321">
                  <c:v>11.151739340684962</c:v>
                </c:pt>
                <c:pt idx="322">
                  <c:v>11.637536597773437</c:v>
                </c:pt>
                <c:pt idx="323">
                  <c:v>11.831705173466247</c:v>
                </c:pt>
                <c:pt idx="324">
                  <c:v>12.55482600094396</c:v>
                </c:pt>
                <c:pt idx="325">
                  <c:v>12.159690148853672</c:v>
                </c:pt>
                <c:pt idx="326">
                  <c:v>12.697472443427978</c:v>
                </c:pt>
                <c:pt idx="327">
                  <c:v>13.123483015252196</c:v>
                </c:pt>
                <c:pt idx="328">
                  <c:v>13.603367704477661</c:v>
                </c:pt>
                <c:pt idx="329">
                  <c:v>13.78428277470044</c:v>
                </c:pt>
                <c:pt idx="330">
                  <c:v>13.645984875625739</c:v>
                </c:pt>
                <c:pt idx="331">
                  <c:v>13.49288940576217</c:v>
                </c:pt>
                <c:pt idx="332">
                  <c:v>13.193269708127621</c:v>
                </c:pt>
                <c:pt idx="333">
                  <c:v>13.232332510026868</c:v>
                </c:pt>
                <c:pt idx="334">
                  <c:v>13.075381118646197</c:v>
                </c:pt>
                <c:pt idx="335">
                  <c:v>13.13609490097083</c:v>
                </c:pt>
                <c:pt idx="336">
                  <c:v>12.905696000112192</c:v>
                </c:pt>
                <c:pt idx="337">
                  <c:v>13.051098911421176</c:v>
                </c:pt>
                <c:pt idx="338">
                  <c:v>12.809354780490432</c:v>
                </c:pt>
                <c:pt idx="339">
                  <c:v>12.849250009492835</c:v>
                </c:pt>
                <c:pt idx="340">
                  <c:v>12.570061718738824</c:v>
                </c:pt>
                <c:pt idx="341">
                  <c:v>12.520349028080098</c:v>
                </c:pt>
                <c:pt idx="342">
                  <c:v>12.336587771724496</c:v>
                </c:pt>
                <c:pt idx="343">
                  <c:v>12.668647270167165</c:v>
                </c:pt>
                <c:pt idx="344">
                  <c:v>12.30770368072262</c:v>
                </c:pt>
                <c:pt idx="345">
                  <c:v>12.30770368072262</c:v>
                </c:pt>
                <c:pt idx="346">
                  <c:v>11.950435273487175</c:v>
                </c:pt>
                <c:pt idx="347">
                  <c:v>12.361229712289955</c:v>
                </c:pt>
                <c:pt idx="348">
                  <c:v>12.923846426339679</c:v>
                </c:pt>
                <c:pt idx="349">
                  <c:v>12.823868874221455</c:v>
                </c:pt>
                <c:pt idx="350">
                  <c:v>12.612078184384691</c:v>
                </c:pt>
                <c:pt idx="351">
                  <c:v>12.608667440441751</c:v>
                </c:pt>
                <c:pt idx="352">
                  <c:v>12.817746434374257</c:v>
                </c:pt>
                <c:pt idx="353">
                  <c:v>12.596210387613898</c:v>
                </c:pt>
                <c:pt idx="354">
                  <c:v>12.811285347616941</c:v>
                </c:pt>
                <c:pt idx="355">
                  <c:v>12.633119128890186</c:v>
                </c:pt>
                <c:pt idx="356">
                  <c:v>12.987669917751727</c:v>
                </c:pt>
                <c:pt idx="357">
                  <c:v>12.548829358931052</c:v>
                </c:pt>
                <c:pt idx="358">
                  <c:v>12.226623515126535</c:v>
                </c:pt>
                <c:pt idx="359">
                  <c:v>12.226623515126535</c:v>
                </c:pt>
                <c:pt idx="360">
                  <c:v>11.990767057351082</c:v>
                </c:pt>
                <c:pt idx="361">
                  <c:v>12.537256306661545</c:v>
                </c:pt>
                <c:pt idx="362">
                  <c:v>12.719640219433408</c:v>
                </c:pt>
                <c:pt idx="363">
                  <c:v>12.74936220205308</c:v>
                </c:pt>
                <c:pt idx="364">
                  <c:v>12.984026580246942</c:v>
                </c:pt>
                <c:pt idx="365">
                  <c:v>12.866477239677524</c:v>
                </c:pt>
                <c:pt idx="366">
                  <c:v>12.976073929492539</c:v>
                </c:pt>
                <c:pt idx="367">
                  <c:v>13.132574619206711</c:v>
                </c:pt>
                <c:pt idx="368">
                  <c:v>13.038074928817611</c:v>
                </c:pt>
                <c:pt idx="369">
                  <c:v>13.589053152865281</c:v>
                </c:pt>
                <c:pt idx="370">
                  <c:v>13.487549017320518</c:v>
                </c:pt>
                <c:pt idx="371">
                  <c:v>13.392904557007723</c:v>
                </c:pt>
                <c:pt idx="372">
                  <c:v>13.946287130673266</c:v>
                </c:pt>
                <c:pt idx="373">
                  <c:v>13.940580509657284</c:v>
                </c:pt>
                <c:pt idx="374">
                  <c:v>14.11496574790446</c:v>
                </c:pt>
                <c:pt idx="375">
                  <c:v>14.368199653760476</c:v>
                </c:pt>
                <c:pt idx="376">
                  <c:v>14.060392016438019</c:v>
                </c:pt>
                <c:pt idx="377">
                  <c:v>14.231269523765777</c:v>
                </c:pt>
                <c:pt idx="378">
                  <c:v>13.751793626905156</c:v>
                </c:pt>
                <c:pt idx="379">
                  <c:v>13.292814778337311</c:v>
                </c:pt>
                <c:pt idx="380">
                  <c:v>13.17418459658685</c:v>
                </c:pt>
                <c:pt idx="381">
                  <c:v>12.974830887496752</c:v>
                </c:pt>
                <c:pt idx="382">
                  <c:v>13.403337732281143</c:v>
                </c:pt>
                <c:pt idx="383">
                  <c:v>13.243866504914644</c:v>
                </c:pt>
                <c:pt idx="384">
                  <c:v>13.617114468624141</c:v>
                </c:pt>
                <c:pt idx="385">
                  <c:v>13.444189695148598</c:v>
                </c:pt>
                <c:pt idx="386">
                  <c:v>13.419853692133891</c:v>
                </c:pt>
                <c:pt idx="387">
                  <c:v>13.230707195884346</c:v>
                </c:pt>
                <c:pt idx="388">
                  <c:v>13.12372881708991</c:v>
                </c:pt>
                <c:pt idx="389">
                  <c:v>12.790285291949605</c:v>
                </c:pt>
                <c:pt idx="390">
                  <c:v>12.69747244342798</c:v>
                </c:pt>
                <c:pt idx="391">
                  <c:v>12.81061387900632</c:v>
                </c:pt>
                <c:pt idx="392">
                  <c:v>12.922015888539061</c:v>
                </c:pt>
                <c:pt idx="393">
                  <c:v>12.826635593372149</c:v>
                </c:pt>
                <c:pt idx="394">
                  <c:v>12.896277699189936</c:v>
                </c:pt>
                <c:pt idx="395">
                  <c:v>12.357749734260832</c:v>
                </c:pt>
                <c:pt idx="396">
                  <c:v>12.481125535129271</c:v>
                </c:pt>
                <c:pt idx="397">
                  <c:v>11.929992924675004</c:v>
                </c:pt>
                <c:pt idx="398">
                  <c:v>11.800400940882959</c:v>
                </c:pt>
                <c:pt idx="399">
                  <c:v>12.493180935713413</c:v>
                </c:pt>
                <c:pt idx="400">
                  <c:v>12.148985532231304</c:v>
                </c:pt>
                <c:pt idx="401">
                  <c:v>12.30412117338993</c:v>
                </c:pt>
                <c:pt idx="402">
                  <c:v>12.21254422956739</c:v>
                </c:pt>
                <c:pt idx="403">
                  <c:v>12.102874447521677</c:v>
                </c:pt>
                <c:pt idx="404">
                  <c:v>11.373615950301218</c:v>
                </c:pt>
                <c:pt idx="405">
                  <c:v>11.464953610474076</c:v>
                </c:pt>
                <c:pt idx="406">
                  <c:v>11.384766278927575</c:v>
                </c:pt>
                <c:pt idx="407">
                  <c:v>11.34768225115236</c:v>
                </c:pt>
                <c:pt idx="408">
                  <c:v>11.409861797434671</c:v>
                </c:pt>
                <c:pt idx="409">
                  <c:v>11.366239389061906</c:v>
                </c:pt>
                <c:pt idx="410">
                  <c:v>11.286208159681264</c:v>
                </c:pt>
                <c:pt idx="411">
                  <c:v>11.245357465022135</c:v>
                </c:pt>
                <c:pt idx="412">
                  <c:v>11.499228585627653</c:v>
                </c:pt>
                <c:pt idx="413">
                  <c:v>11.406091562458318</c:v>
                </c:pt>
                <c:pt idx="414">
                  <c:v>11.454256850621082</c:v>
                </c:pt>
                <c:pt idx="415">
                  <c:v>11.071517268362813</c:v>
                </c:pt>
                <c:pt idx="416">
                  <c:v>10.831951938394985</c:v>
                </c:pt>
                <c:pt idx="417">
                  <c:v>11.27524646274745</c:v>
                </c:pt>
                <c:pt idx="418">
                  <c:v>11.194852887947912</c:v>
                </c:pt>
                <c:pt idx="419">
                  <c:v>11.256921407289493</c:v>
                </c:pt>
                <c:pt idx="420">
                  <c:v>11.286493974505952</c:v>
                </c:pt>
                <c:pt idx="421">
                  <c:v>11.360561851924308</c:v>
                </c:pt>
                <c:pt idx="422">
                  <c:v>11.323588473358544</c:v>
                </c:pt>
                <c:pt idx="423">
                  <c:v>11.460075625114056</c:v>
                </c:pt>
                <c:pt idx="424">
                  <c:v>11.378152995605124</c:v>
                </c:pt>
                <c:pt idx="425">
                  <c:v>11.459887968826944</c:v>
                </c:pt>
                <c:pt idx="426">
                  <c:v>11.464390871935418</c:v>
                </c:pt>
                <c:pt idx="427">
                  <c:v>11.125868336294436</c:v>
                </c:pt>
                <c:pt idx="428">
                  <c:v>10.789979421388093</c:v>
                </c:pt>
                <c:pt idx="429">
                  <c:v>10.764038095855671</c:v>
                </c:pt>
                <c:pt idx="430">
                  <c:v>10.581176225854129</c:v>
                </c:pt>
                <c:pt idx="431">
                  <c:v>11.042634873355027</c:v>
                </c:pt>
                <c:pt idx="432">
                  <c:v>11.20637299481526</c:v>
                </c:pt>
                <c:pt idx="433">
                  <c:v>11.212895801623439</c:v>
                </c:pt>
                <c:pt idx="434">
                  <c:v>11.077828287615423</c:v>
                </c:pt>
                <c:pt idx="435">
                  <c:v>11.152799928114874</c:v>
                </c:pt>
                <c:pt idx="436">
                  <c:v>11.186589513620163</c:v>
                </c:pt>
                <c:pt idx="437">
                  <c:v>11.102358559846545</c:v>
                </c:pt>
                <c:pt idx="438">
                  <c:v>11.467860653015856</c:v>
                </c:pt>
                <c:pt idx="439">
                  <c:v>11.467860653015856</c:v>
                </c:pt>
                <c:pt idx="440">
                  <c:v>11.544397701031002</c:v>
                </c:pt>
                <c:pt idx="441">
                  <c:v>11.544397701031002</c:v>
                </c:pt>
                <c:pt idx="442">
                  <c:v>11.663010179692588</c:v>
                </c:pt>
                <c:pt idx="443">
                  <c:v>11.239331859374975</c:v>
                </c:pt>
                <c:pt idx="444">
                  <c:v>11.09877451338321</c:v>
                </c:pt>
                <c:pt idx="445">
                  <c:v>10.486037824045448</c:v>
                </c:pt>
                <c:pt idx="446">
                  <c:v>11.023532989468144</c:v>
                </c:pt>
                <c:pt idx="447">
                  <c:v>11.285255391319765</c:v>
                </c:pt>
                <c:pt idx="448">
                  <c:v>11.109619971627225</c:v>
                </c:pt>
                <c:pt idx="449">
                  <c:v>11.1415139605591</c:v>
                </c:pt>
                <c:pt idx="450">
                  <c:v>11.318839562086657</c:v>
                </c:pt>
                <c:pt idx="451">
                  <c:v>11.439226983432693</c:v>
                </c:pt>
                <c:pt idx="452">
                  <c:v>11.271049602401053</c:v>
                </c:pt>
                <c:pt idx="453">
                  <c:v>11.450501233335755</c:v>
                </c:pt>
                <c:pt idx="454">
                  <c:v>11.574907974738112</c:v>
                </c:pt>
                <c:pt idx="455">
                  <c:v>11.800309819151234</c:v>
                </c:pt>
                <c:pt idx="456">
                  <c:v>12.089540489502149</c:v>
                </c:pt>
                <c:pt idx="457">
                  <c:v>12.122581789673015</c:v>
                </c:pt>
                <c:pt idx="458">
                  <c:v>12.638480240744885</c:v>
                </c:pt>
                <c:pt idx="459">
                  <c:v>12.587756468220453</c:v>
                </c:pt>
                <c:pt idx="460">
                  <c:v>12.924096025042376</c:v>
                </c:pt>
                <c:pt idx="461">
                  <c:v>12.701282637795339</c:v>
                </c:pt>
                <c:pt idx="462">
                  <c:v>12.751133198640124</c:v>
                </c:pt>
                <c:pt idx="463">
                  <c:v>12.821269291164551</c:v>
                </c:pt>
                <c:pt idx="464">
                  <c:v>12.826216431862877</c:v>
                </c:pt>
                <c:pt idx="465">
                  <c:v>12.803897256157461</c:v>
                </c:pt>
                <c:pt idx="466">
                  <c:v>12.803897256157461</c:v>
                </c:pt>
                <c:pt idx="467">
                  <c:v>12.325513359284166</c:v>
                </c:pt>
                <c:pt idx="468">
                  <c:v>12.574423606362959</c:v>
                </c:pt>
                <c:pt idx="469">
                  <c:v>12.668647270167165</c:v>
                </c:pt>
                <c:pt idx="470">
                  <c:v>12.598856408249873</c:v>
                </c:pt>
                <c:pt idx="471">
                  <c:v>12.599965864435754</c:v>
                </c:pt>
                <c:pt idx="472">
                  <c:v>13.054641163738609</c:v>
                </c:pt>
                <c:pt idx="473">
                  <c:v>13.054641163738609</c:v>
                </c:pt>
                <c:pt idx="474">
                  <c:v>13.033125703045984</c:v>
                </c:pt>
                <c:pt idx="475">
                  <c:v>13.298718508882523</c:v>
                </c:pt>
                <c:pt idx="476">
                  <c:v>13.558237586486412</c:v>
                </c:pt>
                <c:pt idx="477">
                  <c:v>13.246301979383992</c:v>
                </c:pt>
                <c:pt idx="478">
                  <c:v>13.08376651566968</c:v>
                </c:pt>
                <c:pt idx="479">
                  <c:v>13.190579890568205</c:v>
                </c:pt>
                <c:pt idx="480">
                  <c:v>13.295322162243735</c:v>
                </c:pt>
                <c:pt idx="481">
                  <c:v>12.917355167220922</c:v>
                </c:pt>
                <c:pt idx="482">
                  <c:v>13.307690395253189</c:v>
                </c:pt>
                <c:pt idx="483">
                  <c:v>13.256039402670817</c:v>
                </c:pt>
                <c:pt idx="484">
                  <c:v>13.390415445625713</c:v>
                </c:pt>
                <c:pt idx="485">
                  <c:v>13.020331495705648</c:v>
                </c:pt>
                <c:pt idx="486">
                  <c:v>12.900862686832852</c:v>
                </c:pt>
                <c:pt idx="487">
                  <c:v>12.715750964085652</c:v>
                </c:pt>
                <c:pt idx="488">
                  <c:v>13.03296069648524</c:v>
                </c:pt>
                <c:pt idx="489">
                  <c:v>12.904362853126894</c:v>
                </c:pt>
                <c:pt idx="490">
                  <c:v>12.907029009398807</c:v>
                </c:pt>
                <c:pt idx="491">
                  <c:v>12.554397764361553</c:v>
                </c:pt>
                <c:pt idx="492">
                  <c:v>13.024047237768025</c:v>
                </c:pt>
                <c:pt idx="493">
                  <c:v>12.572285615249038</c:v>
                </c:pt>
                <c:pt idx="494">
                  <c:v>12.702975690673799</c:v>
                </c:pt>
                <c:pt idx="495">
                  <c:v>12.971349736187618</c:v>
                </c:pt>
                <c:pt idx="496">
                  <c:v>13.018844901935241</c:v>
                </c:pt>
                <c:pt idx="497">
                  <c:v>12.95998805256319</c:v>
                </c:pt>
                <c:pt idx="498">
                  <c:v>12.917105438263862</c:v>
                </c:pt>
                <c:pt idx="499">
                  <c:v>12.719302070526131</c:v>
                </c:pt>
                <c:pt idx="500">
                  <c:v>12.350264461057687</c:v>
                </c:pt>
                <c:pt idx="501">
                  <c:v>12.617959550807191</c:v>
                </c:pt>
                <c:pt idx="502">
                  <c:v>12.794151889853627</c:v>
                </c:pt>
                <c:pt idx="503">
                  <c:v>12.498257943125644</c:v>
                </c:pt>
                <c:pt idx="504">
                  <c:v>12.38139429673342</c:v>
                </c:pt>
                <c:pt idx="505">
                  <c:v>12.336239122963072</c:v>
                </c:pt>
                <c:pt idx="506">
                  <c:v>12.112465808289794</c:v>
                </c:pt>
                <c:pt idx="507">
                  <c:v>11.634302267317617</c:v>
                </c:pt>
                <c:pt idx="508">
                  <c:v>11.89072105937348</c:v>
                </c:pt>
                <c:pt idx="509">
                  <c:v>12.344342659652833</c:v>
                </c:pt>
                <c:pt idx="510">
                  <c:v>12.467851131127487</c:v>
                </c:pt>
                <c:pt idx="511">
                  <c:v>12.259821605816766</c:v>
                </c:pt>
                <c:pt idx="512">
                  <c:v>12.309538219721961</c:v>
                </c:pt>
                <c:pt idx="513">
                  <c:v>12.103851693012915</c:v>
                </c:pt>
                <c:pt idx="514">
                  <c:v>12.164817947627688</c:v>
                </c:pt>
                <c:pt idx="515">
                  <c:v>11.408165345888872</c:v>
                </c:pt>
                <c:pt idx="516">
                  <c:v>12.024884592475953</c:v>
                </c:pt>
                <c:pt idx="517">
                  <c:v>12.425693117986038</c:v>
                </c:pt>
                <c:pt idx="518">
                  <c:v>12.006718549319819</c:v>
                </c:pt>
                <c:pt idx="519">
                  <c:v>12.105006517788368</c:v>
                </c:pt>
                <c:pt idx="520">
                  <c:v>12.021575585999219</c:v>
                </c:pt>
                <c:pt idx="521">
                  <c:v>12.377225009053168</c:v>
                </c:pt>
                <c:pt idx="522">
                  <c:v>12.320626991446725</c:v>
                </c:pt>
                <c:pt idx="523">
                  <c:v>12.271130557584755</c:v>
                </c:pt>
                <c:pt idx="524">
                  <c:v>12.483795948761843</c:v>
                </c:pt>
                <c:pt idx="525">
                  <c:v>12.233217602218387</c:v>
                </c:pt>
                <c:pt idx="526">
                  <c:v>11.941794321328064</c:v>
                </c:pt>
                <c:pt idx="527">
                  <c:v>11.887465161126205</c:v>
                </c:pt>
                <c:pt idx="528">
                  <c:v>11.907529017887295</c:v>
                </c:pt>
                <c:pt idx="529">
                  <c:v>12.034270061535867</c:v>
                </c:pt>
                <c:pt idx="530">
                  <c:v>11.964373638395776</c:v>
                </c:pt>
                <c:pt idx="531">
                  <c:v>12.244990197882421</c:v>
                </c:pt>
                <c:pt idx="532">
                  <c:v>11.738458069502244</c:v>
                </c:pt>
                <c:pt idx="533">
                  <c:v>11.901115877924429</c:v>
                </c:pt>
                <c:pt idx="534">
                  <c:v>11.868545217986822</c:v>
                </c:pt>
                <c:pt idx="535">
                  <c:v>11.76426153493561</c:v>
                </c:pt>
                <c:pt idx="536">
                  <c:v>11.757221528257265</c:v>
                </c:pt>
                <c:pt idx="537">
                  <c:v>11.718747043010382</c:v>
                </c:pt>
                <c:pt idx="538">
                  <c:v>11.777233368089959</c:v>
                </c:pt>
                <c:pt idx="539">
                  <c:v>11.777233368089961</c:v>
                </c:pt>
                <c:pt idx="540">
                  <c:v>11.392319616151889</c:v>
                </c:pt>
                <c:pt idx="541">
                  <c:v>10.884041785632663</c:v>
                </c:pt>
                <c:pt idx="542">
                  <c:v>11.298015812093848</c:v>
                </c:pt>
                <c:pt idx="543">
                  <c:v>11.328335393856367</c:v>
                </c:pt>
                <c:pt idx="544">
                  <c:v>11.545701616032332</c:v>
                </c:pt>
                <c:pt idx="545">
                  <c:v>11.326626731656678</c:v>
                </c:pt>
                <c:pt idx="546">
                  <c:v>11.258640648289289</c:v>
                </c:pt>
                <c:pt idx="547">
                  <c:v>10.985425339624912</c:v>
                </c:pt>
                <c:pt idx="548">
                  <c:v>10.563886544484051</c:v>
                </c:pt>
                <c:pt idx="549">
                  <c:v>10.846732821602354</c:v>
                </c:pt>
                <c:pt idx="550">
                  <c:v>10.50376276665008</c:v>
                </c:pt>
                <c:pt idx="551">
                  <c:v>10.310345571631032</c:v>
                </c:pt>
                <c:pt idx="552">
                  <c:v>9.8516959950302283</c:v>
                </c:pt>
                <c:pt idx="553">
                  <c:v>9.860859959444964</c:v>
                </c:pt>
                <c:pt idx="554">
                  <c:v>9.5111705689361834</c:v>
                </c:pt>
                <c:pt idx="555">
                  <c:v>9.3047565590753596</c:v>
                </c:pt>
                <c:pt idx="556">
                  <c:v>9.3241506286758664</c:v>
                </c:pt>
                <c:pt idx="557">
                  <c:v>9.7456910798391263</c:v>
                </c:pt>
                <c:pt idx="558">
                  <c:v>10.089385458229415</c:v>
                </c:pt>
                <c:pt idx="559">
                  <c:v>10.072105630301788</c:v>
                </c:pt>
                <c:pt idx="560">
                  <c:v>10.180943615560683</c:v>
                </c:pt>
                <c:pt idx="561">
                  <c:v>10.161491720141028</c:v>
                </c:pt>
                <c:pt idx="562">
                  <c:v>9.988918591301859</c:v>
                </c:pt>
                <c:pt idx="563">
                  <c:v>10.233930492891446</c:v>
                </c:pt>
                <c:pt idx="564">
                  <c:v>9.8811213503217807</c:v>
                </c:pt>
                <c:pt idx="565">
                  <c:v>9.717626153774189</c:v>
                </c:pt>
                <c:pt idx="566">
                  <c:v>9.7310057608799916</c:v>
                </c:pt>
                <c:pt idx="567">
                  <c:v>9.7740054632529692</c:v>
                </c:pt>
                <c:pt idx="568">
                  <c:v>10.060141729265212</c:v>
                </c:pt>
                <c:pt idx="569">
                  <c:v>9.9731898672908166</c:v>
                </c:pt>
                <c:pt idx="570">
                  <c:v>9.872411869904548</c:v>
                </c:pt>
                <c:pt idx="571">
                  <c:v>9.7991660825796068</c:v>
                </c:pt>
                <c:pt idx="572">
                  <c:v>9.8215256244331961</c:v>
                </c:pt>
                <c:pt idx="573">
                  <c:v>9.2113767899045023</c:v>
                </c:pt>
                <c:pt idx="574">
                  <c:v>9.6635886831217697</c:v>
                </c:pt>
                <c:pt idx="575">
                  <c:v>9.7217193930389314</c:v>
                </c:pt>
                <c:pt idx="576">
                  <c:v>9.8111194323649453</c:v>
                </c:pt>
                <c:pt idx="577">
                  <c:v>9.8757877050744103</c:v>
                </c:pt>
                <c:pt idx="578">
                  <c:v>10.297927550141193</c:v>
                </c:pt>
                <c:pt idx="579">
                  <c:v>10.354366384564845</c:v>
                </c:pt>
                <c:pt idx="580">
                  <c:v>10.518800373156751</c:v>
                </c:pt>
                <c:pt idx="581">
                  <c:v>10.669220124475647</c:v>
                </c:pt>
                <c:pt idx="582">
                  <c:v>10.860998587725744</c:v>
                </c:pt>
                <c:pt idx="583">
                  <c:v>10.729519124600195</c:v>
                </c:pt>
                <c:pt idx="584">
                  <c:v>10.945613350237767</c:v>
                </c:pt>
                <c:pt idx="585">
                  <c:v>10.741738510900326</c:v>
                </c:pt>
                <c:pt idx="586">
                  <c:v>11.133983626620326</c:v>
                </c:pt>
                <c:pt idx="587">
                  <c:v>11.672594500178244</c:v>
                </c:pt>
                <c:pt idx="588">
                  <c:v>11.467016748844468</c:v>
                </c:pt>
                <c:pt idx="589">
                  <c:v>11.450595138780258</c:v>
                </c:pt>
                <c:pt idx="590">
                  <c:v>12.095053641081762</c:v>
                </c:pt>
                <c:pt idx="591">
                  <c:v>12.221345683785426</c:v>
                </c:pt>
                <c:pt idx="592">
                  <c:v>12.251135562903757</c:v>
                </c:pt>
                <c:pt idx="593">
                  <c:v>12.262978641475744</c:v>
                </c:pt>
                <c:pt idx="594">
                  <c:v>12.262978641475744</c:v>
                </c:pt>
                <c:pt idx="595">
                  <c:v>12.376616870586659</c:v>
                </c:pt>
                <c:pt idx="596">
                  <c:v>12.500236556901417</c:v>
                </c:pt>
                <c:pt idx="597">
                  <c:v>12.44177838825164</c:v>
                </c:pt>
                <c:pt idx="598">
                  <c:v>12.84958473869834</c:v>
                </c:pt>
                <c:pt idx="599">
                  <c:v>13.078916794449341</c:v>
                </c:pt>
                <c:pt idx="600">
                  <c:v>13.20524496643875</c:v>
                </c:pt>
                <c:pt idx="601">
                  <c:v>13.532914872496484</c:v>
                </c:pt>
                <c:pt idx="602">
                  <c:v>14.675339566696556</c:v>
                </c:pt>
                <c:pt idx="603">
                  <c:v>15.191112285580616</c:v>
                </c:pt>
                <c:pt idx="604">
                  <c:v>15.823488733491255</c:v>
                </c:pt>
                <c:pt idx="605">
                  <c:v>16.050659049209742</c:v>
                </c:pt>
                <c:pt idx="606">
                  <c:v>16.395842641169086</c:v>
                </c:pt>
                <c:pt idx="607">
                  <c:v>16.590254944990598</c:v>
                </c:pt>
                <c:pt idx="608">
                  <c:v>17.160845656782595</c:v>
                </c:pt>
                <c:pt idx="609">
                  <c:v>17.726718792257774</c:v>
                </c:pt>
                <c:pt idx="610">
                  <c:v>17.976567782736275</c:v>
                </c:pt>
                <c:pt idx="611">
                  <c:v>18.483936647221409</c:v>
                </c:pt>
                <c:pt idx="612">
                  <c:v>18.592980523067915</c:v>
                </c:pt>
                <c:pt idx="613">
                  <c:v>18.215082961980382</c:v>
                </c:pt>
                <c:pt idx="614">
                  <c:v>17.965438743523961</c:v>
                </c:pt>
                <c:pt idx="615">
                  <c:v>18.049513739615236</c:v>
                </c:pt>
                <c:pt idx="616">
                  <c:v>18.11017654866059</c:v>
                </c:pt>
                <c:pt idx="617">
                  <c:v>16.945199466109468</c:v>
                </c:pt>
                <c:pt idx="618">
                  <c:v>17.192146243942851</c:v>
                </c:pt>
                <c:pt idx="619">
                  <c:v>17.269526893918805</c:v>
                </c:pt>
                <c:pt idx="620">
                  <c:v>17.21033697882558</c:v>
                </c:pt>
                <c:pt idx="621">
                  <c:v>17.321811720784943</c:v>
                </c:pt>
                <c:pt idx="622">
                  <c:v>15.758459069911137</c:v>
                </c:pt>
                <c:pt idx="623">
                  <c:v>15.49644426783888</c:v>
                </c:pt>
                <c:pt idx="624">
                  <c:v>15.534560844940593</c:v>
                </c:pt>
                <c:pt idx="625">
                  <c:v>14.235500074306886</c:v>
                </c:pt>
                <c:pt idx="626">
                  <c:v>13.989089450565178</c:v>
                </c:pt>
                <c:pt idx="627">
                  <c:v>13.86594807898228</c:v>
                </c:pt>
                <c:pt idx="628">
                  <c:v>12.986759179198428</c:v>
                </c:pt>
                <c:pt idx="629">
                  <c:v>9.7539625253656048</c:v>
                </c:pt>
                <c:pt idx="630">
                  <c:v>9.6873712270317505</c:v>
                </c:pt>
                <c:pt idx="631">
                  <c:v>5.5976185412488881</c:v>
                </c:pt>
                <c:pt idx="632">
                  <c:v>5.1443674177718171</c:v>
                </c:pt>
                <c:pt idx="633">
                  <c:v>5.1213237536058323</c:v>
                </c:pt>
                <c:pt idx="634">
                  <c:v>5.0124575991020324</c:v>
                </c:pt>
                <c:pt idx="635">
                  <c:v>5.2941436502277988</c:v>
                </c:pt>
                <c:pt idx="636">
                  <c:v>5.1416494571085787</c:v>
                </c:pt>
                <c:pt idx="637">
                  <c:v>5.2961743141244311</c:v>
                </c:pt>
                <c:pt idx="638">
                  <c:v>5.2961743141244311</c:v>
                </c:pt>
                <c:pt idx="639">
                  <c:v>5.456179292611111</c:v>
                </c:pt>
                <c:pt idx="640">
                  <c:v>5.4679909227414409</c:v>
                </c:pt>
                <c:pt idx="641">
                  <c:v>5.4856606820217699</c:v>
                </c:pt>
                <c:pt idx="642">
                  <c:v>5.7554088632169043</c:v>
                </c:pt>
                <c:pt idx="643">
                  <c:v>5.6650218991879946</c:v>
                </c:pt>
                <c:pt idx="644">
                  <c:v>5.6574244681571511</c:v>
                </c:pt>
                <c:pt idx="645">
                  <c:v>5.7893116198955861</c:v>
                </c:pt>
                <c:pt idx="646">
                  <c:v>7.403137957170812</c:v>
                </c:pt>
                <c:pt idx="647">
                  <c:v>9.7054468688840476</c:v>
                </c:pt>
                <c:pt idx="648">
                  <c:v>11.094995481350265</c:v>
                </c:pt>
                <c:pt idx="649">
                  <c:v>12.580920868222369</c:v>
                </c:pt>
                <c:pt idx="650">
                  <c:v>13.913867144857003</c:v>
                </c:pt>
                <c:pt idx="651">
                  <c:v>15.502896018042454</c:v>
                </c:pt>
                <c:pt idx="652">
                  <c:v>15.864750946064207</c:v>
                </c:pt>
                <c:pt idx="653">
                  <c:v>17.415602941226343</c:v>
                </c:pt>
                <c:pt idx="654">
                  <c:v>18.047130650914642</c:v>
                </c:pt>
                <c:pt idx="655">
                  <c:v>17.813248663761176</c:v>
                </c:pt>
                <c:pt idx="656">
                  <c:v>18.124301988784151</c:v>
                </c:pt>
                <c:pt idx="657">
                  <c:v>18.856789085728675</c:v>
                </c:pt>
                <c:pt idx="658">
                  <c:v>18.351877229576878</c:v>
                </c:pt>
                <c:pt idx="659">
                  <c:v>18.476488983605361</c:v>
                </c:pt>
                <c:pt idx="660">
                  <c:v>18.122166074335773</c:v>
                </c:pt>
                <c:pt idx="661">
                  <c:v>17.668877930186397</c:v>
                </c:pt>
                <c:pt idx="662">
                  <c:v>17.501950736129174</c:v>
                </c:pt>
                <c:pt idx="663">
                  <c:v>17.507479200529964</c:v>
                </c:pt>
                <c:pt idx="664">
                  <c:v>17.09656319610113</c:v>
                </c:pt>
                <c:pt idx="665">
                  <c:v>16.494313128814969</c:v>
                </c:pt>
                <c:pt idx="666">
                  <c:v>16.315373052721238</c:v>
                </c:pt>
                <c:pt idx="667">
                  <c:v>15.97026807431833</c:v>
                </c:pt>
                <c:pt idx="668">
                  <c:v>16.077634234570869</c:v>
                </c:pt>
                <c:pt idx="669">
                  <c:v>15.882634054719297</c:v>
                </c:pt>
                <c:pt idx="670">
                  <c:v>15.654605286198265</c:v>
                </c:pt>
                <c:pt idx="671">
                  <c:v>15.25242797523676</c:v>
                </c:pt>
                <c:pt idx="672">
                  <c:v>14.457650428544003</c:v>
                </c:pt>
                <c:pt idx="673">
                  <c:v>12.936652938349697</c:v>
                </c:pt>
                <c:pt idx="674">
                  <c:v>12.1337527990827</c:v>
                </c:pt>
                <c:pt idx="675">
                  <c:v>11.189568875202621</c:v>
                </c:pt>
                <c:pt idx="676">
                  <c:v>10.54259154853017</c:v>
                </c:pt>
                <c:pt idx="677">
                  <c:v>10.569483359872594</c:v>
                </c:pt>
                <c:pt idx="678">
                  <c:v>10.549626706946267</c:v>
                </c:pt>
                <c:pt idx="679">
                  <c:v>10.614252945516132</c:v>
                </c:pt>
                <c:pt idx="680">
                  <c:v>10.751644035326203</c:v>
                </c:pt>
                <c:pt idx="681">
                  <c:v>10.60766612621086</c:v>
                </c:pt>
                <c:pt idx="682">
                  <c:v>10.423608439653984</c:v>
                </c:pt>
                <c:pt idx="683">
                  <c:v>10.697301438424372</c:v>
                </c:pt>
                <c:pt idx="684">
                  <c:v>10.009565317707976</c:v>
                </c:pt>
                <c:pt idx="685">
                  <c:v>10.372938323462911</c:v>
                </c:pt>
                <c:pt idx="686">
                  <c:v>10.146984296951517</c:v>
                </c:pt>
                <c:pt idx="687">
                  <c:v>9.9128460156017866</c:v>
                </c:pt>
                <c:pt idx="688">
                  <c:v>9.2607391887786488</c:v>
                </c:pt>
                <c:pt idx="689">
                  <c:v>9.1645647639060286</c:v>
                </c:pt>
                <c:pt idx="690">
                  <c:v>9.6185305027461485</c:v>
                </c:pt>
                <c:pt idx="691">
                  <c:v>9.3825507227254636</c:v>
                </c:pt>
                <c:pt idx="692">
                  <c:v>9.2811521346348265</c:v>
                </c:pt>
                <c:pt idx="693">
                  <c:v>10.068795616223936</c:v>
                </c:pt>
                <c:pt idx="694">
                  <c:v>10.012894911868846</c:v>
                </c:pt>
                <c:pt idx="695">
                  <c:v>10.080322575483708</c:v>
                </c:pt>
                <c:pt idx="696">
                  <c:v>10.008061266927806</c:v>
                </c:pt>
                <c:pt idx="697">
                  <c:v>10.180626763138044</c:v>
                </c:pt>
                <c:pt idx="698">
                  <c:v>9.7300112168265205</c:v>
                </c:pt>
                <c:pt idx="699">
                  <c:v>9.8098041807426579</c:v>
                </c:pt>
                <c:pt idx="700">
                  <c:v>10.380709984627556</c:v>
                </c:pt>
                <c:pt idx="701">
                  <c:v>10.667607485390787</c:v>
                </c:pt>
                <c:pt idx="702">
                  <c:v>10.801035394414642</c:v>
                </c:pt>
                <c:pt idx="703">
                  <c:v>10.629437719680149</c:v>
                </c:pt>
                <c:pt idx="704">
                  <c:v>10.403680076770188</c:v>
                </c:pt>
                <c:pt idx="705">
                  <c:v>10.215947895219976</c:v>
                </c:pt>
                <c:pt idx="706">
                  <c:v>10.367961403087589</c:v>
                </c:pt>
                <c:pt idx="707">
                  <c:v>10.525749277341843</c:v>
                </c:pt>
                <c:pt idx="708">
                  <c:v>10.946399221386843</c:v>
                </c:pt>
                <c:pt idx="709">
                  <c:v>10.892041091539497</c:v>
                </c:pt>
                <c:pt idx="710">
                  <c:v>10.836616541361797</c:v>
                </c:pt>
                <c:pt idx="711">
                  <c:v>10.581582701709527</c:v>
                </c:pt>
                <c:pt idx="712">
                  <c:v>10.422473650206427</c:v>
                </c:pt>
                <c:pt idx="713">
                  <c:v>10.296256757958517</c:v>
                </c:pt>
                <c:pt idx="714">
                  <c:v>10.579041971381816</c:v>
                </c:pt>
                <c:pt idx="715">
                  <c:v>10.743640279328648</c:v>
                </c:pt>
                <c:pt idx="716">
                  <c:v>10.369828028146529</c:v>
                </c:pt>
                <c:pt idx="717">
                  <c:v>10.383817020439956</c:v>
                </c:pt>
                <c:pt idx="718">
                  <c:v>10.784895849966455</c:v>
                </c:pt>
                <c:pt idx="719">
                  <c:v>10.969949177012468</c:v>
                </c:pt>
                <c:pt idx="720">
                  <c:v>11.407882579437631</c:v>
                </c:pt>
                <c:pt idx="721">
                  <c:v>11.185339867746052</c:v>
                </c:pt>
                <c:pt idx="722">
                  <c:v>10.953469524477436</c:v>
                </c:pt>
                <c:pt idx="723">
                  <c:v>10.887894036917322</c:v>
                </c:pt>
                <c:pt idx="724">
                  <c:v>10.899146656938898</c:v>
                </c:pt>
                <c:pt idx="725">
                  <c:v>11.169466829142376</c:v>
                </c:pt>
                <c:pt idx="726">
                  <c:v>11.5581745033315</c:v>
                </c:pt>
                <c:pt idx="727">
                  <c:v>11.770566535181718</c:v>
                </c:pt>
                <c:pt idx="728">
                  <c:v>12.148188944186534</c:v>
                </c:pt>
                <c:pt idx="729">
                  <c:v>12.23954458355797</c:v>
                </c:pt>
                <c:pt idx="730">
                  <c:v>12.283917276500766</c:v>
                </c:pt>
                <c:pt idx="731">
                  <c:v>12.354181739460243</c:v>
                </c:pt>
                <c:pt idx="732">
                  <c:v>12.173742234826561</c:v>
                </c:pt>
                <c:pt idx="733">
                  <c:v>12.12417827833009</c:v>
                </c:pt>
                <c:pt idx="734">
                  <c:v>12.266748480325578</c:v>
                </c:pt>
                <c:pt idx="735">
                  <c:v>12.148631499548745</c:v>
                </c:pt>
                <c:pt idx="736">
                  <c:v>12.189277854887711</c:v>
                </c:pt>
                <c:pt idx="737">
                  <c:v>12.443333923823829</c:v>
                </c:pt>
                <c:pt idx="738">
                  <c:v>12.510898474736388</c:v>
                </c:pt>
                <c:pt idx="739">
                  <c:v>12.137917130136643</c:v>
                </c:pt>
                <c:pt idx="740">
                  <c:v>12.239808136805349</c:v>
                </c:pt>
                <c:pt idx="741">
                  <c:v>12.400832438239393</c:v>
                </c:pt>
                <c:pt idx="742">
                  <c:v>12.540514986595737</c:v>
                </c:pt>
                <c:pt idx="743">
                  <c:v>12.774133811090907</c:v>
                </c:pt>
                <c:pt idx="744">
                  <c:v>12.933078370172829</c:v>
                </c:pt>
                <c:pt idx="745">
                  <c:v>12.267449717877192</c:v>
                </c:pt>
                <c:pt idx="746">
                  <c:v>12.430451682551929</c:v>
                </c:pt>
                <c:pt idx="747">
                  <c:v>12.553027309125714</c:v>
                </c:pt>
                <c:pt idx="748">
                  <c:v>12.621197393904986</c:v>
                </c:pt>
                <c:pt idx="749">
                  <c:v>12.30228582659092</c:v>
                </c:pt>
                <c:pt idx="750">
                  <c:v>12.395889016772015</c:v>
                </c:pt>
                <c:pt idx="751">
                  <c:v>11.97371673596458</c:v>
                </c:pt>
                <c:pt idx="752">
                  <c:v>12.340596524505822</c:v>
                </c:pt>
                <c:pt idx="753">
                  <c:v>12.68908598858903</c:v>
                </c:pt>
                <c:pt idx="754">
                  <c:v>12.697472443427978</c:v>
                </c:pt>
                <c:pt idx="755">
                  <c:v>12.324466443553634</c:v>
                </c:pt>
                <c:pt idx="756">
                  <c:v>12.038200844390847</c:v>
                </c:pt>
                <c:pt idx="757">
                  <c:v>11.492026221109429</c:v>
                </c:pt>
                <c:pt idx="758">
                  <c:v>11.237896715161835</c:v>
                </c:pt>
                <c:pt idx="759">
                  <c:v>11.066271530709784</c:v>
                </c:pt>
                <c:pt idx="760">
                  <c:v>10.926932298791163</c:v>
                </c:pt>
                <c:pt idx="761">
                  <c:v>10.894015324593274</c:v>
                </c:pt>
                <c:pt idx="762">
                  <c:v>11.028506562053055</c:v>
                </c:pt>
                <c:pt idx="763">
                  <c:v>11.623206301670068</c:v>
                </c:pt>
                <c:pt idx="764">
                  <c:v>11.652033834190419</c:v>
                </c:pt>
                <c:pt idx="765">
                  <c:v>11.548960759464721</c:v>
                </c:pt>
                <c:pt idx="766">
                  <c:v>12.225568131135347</c:v>
                </c:pt>
                <c:pt idx="767">
                  <c:v>12.292930042600016</c:v>
                </c:pt>
                <c:pt idx="768">
                  <c:v>12.013701854884888</c:v>
                </c:pt>
                <c:pt idx="769">
                  <c:v>11.773946086661553</c:v>
                </c:pt>
                <c:pt idx="770">
                  <c:v>11.817428354055115</c:v>
                </c:pt>
                <c:pt idx="771">
                  <c:v>11.788914056165476</c:v>
                </c:pt>
                <c:pt idx="772">
                  <c:v>11.746973986923713</c:v>
                </c:pt>
                <c:pt idx="773">
                  <c:v>11.603670164664393</c:v>
                </c:pt>
                <c:pt idx="774">
                  <c:v>11.145084262840118</c:v>
                </c:pt>
                <c:pt idx="775">
                  <c:v>11.040979386198112</c:v>
                </c:pt>
                <c:pt idx="776">
                  <c:v>11.511565012293422</c:v>
                </c:pt>
                <c:pt idx="777">
                  <c:v>11.80887218855346</c:v>
                </c:pt>
                <c:pt idx="778">
                  <c:v>11.758501842981438</c:v>
                </c:pt>
                <c:pt idx="779">
                  <c:v>11.805958036571633</c:v>
                </c:pt>
                <c:pt idx="780">
                  <c:v>11.784443910493609</c:v>
                </c:pt>
                <c:pt idx="781">
                  <c:v>11.947105646696748</c:v>
                </c:pt>
                <c:pt idx="782">
                  <c:v>12.510554683731</c:v>
                </c:pt>
                <c:pt idx="783">
                  <c:v>12.247360918269926</c:v>
                </c:pt>
                <c:pt idx="784">
                  <c:v>12.247360918269926</c:v>
                </c:pt>
                <c:pt idx="785">
                  <c:v>12.408287206453979</c:v>
                </c:pt>
                <c:pt idx="786">
                  <c:v>12.37939668827166</c:v>
                </c:pt>
                <c:pt idx="787">
                  <c:v>12.600989891137885</c:v>
                </c:pt>
                <c:pt idx="788">
                  <c:v>12.817578655137842</c:v>
                </c:pt>
                <c:pt idx="789">
                  <c:v>12.85493922061055</c:v>
                </c:pt>
                <c:pt idx="790">
                  <c:v>12.753325520347898</c:v>
                </c:pt>
                <c:pt idx="791">
                  <c:v>12.590660474446752</c:v>
                </c:pt>
                <c:pt idx="792">
                  <c:v>12.427683284826539</c:v>
                </c:pt>
                <c:pt idx="793">
                  <c:v>12.081800051032062</c:v>
                </c:pt>
                <c:pt idx="794">
                  <c:v>11.60385549572173</c:v>
                </c:pt>
                <c:pt idx="795">
                  <c:v>11.586514222489736</c:v>
                </c:pt>
                <c:pt idx="796">
                  <c:v>11.610154991417263</c:v>
                </c:pt>
                <c:pt idx="797">
                  <c:v>11.005668138863523</c:v>
                </c:pt>
                <c:pt idx="798">
                  <c:v>10.950425925825408</c:v>
                </c:pt>
                <c:pt idx="799">
                  <c:v>10.691268671511891</c:v>
                </c:pt>
                <c:pt idx="800">
                  <c:v>10.708151854033085</c:v>
                </c:pt>
                <c:pt idx="801">
                  <c:v>10.617392912483957</c:v>
                </c:pt>
                <c:pt idx="802">
                  <c:v>10.512972017710371</c:v>
                </c:pt>
                <c:pt idx="803">
                  <c:v>10.29698776289684</c:v>
                </c:pt>
                <c:pt idx="804">
                  <c:v>10.937456605136649</c:v>
                </c:pt>
                <c:pt idx="805">
                  <c:v>10.937456605136651</c:v>
                </c:pt>
                <c:pt idx="806">
                  <c:v>10.618709396499737</c:v>
                </c:pt>
                <c:pt idx="807">
                  <c:v>10.490343742125754</c:v>
                </c:pt>
                <c:pt idx="808">
                  <c:v>10.441645320027266</c:v>
                </c:pt>
                <c:pt idx="809">
                  <c:v>10.444116520437385</c:v>
                </c:pt>
                <c:pt idx="810">
                  <c:v>10.181471681019296</c:v>
                </c:pt>
                <c:pt idx="811">
                  <c:v>10.323269466264954</c:v>
                </c:pt>
                <c:pt idx="812">
                  <c:v>10.164559979157607</c:v>
                </c:pt>
                <c:pt idx="813">
                  <c:v>9.6932522810946296</c:v>
                </c:pt>
                <c:pt idx="814">
                  <c:v>10.374182180489145</c:v>
                </c:pt>
                <c:pt idx="815">
                  <c:v>10.228044936634101</c:v>
                </c:pt>
                <c:pt idx="816">
                  <c:v>10.046879363575368</c:v>
                </c:pt>
                <c:pt idx="817">
                  <c:v>10.100676012722046</c:v>
                </c:pt>
                <c:pt idx="818">
                  <c:v>9.9766393807400569</c:v>
                </c:pt>
                <c:pt idx="819">
                  <c:v>9.6914772446101161</c:v>
                </c:pt>
                <c:pt idx="820">
                  <c:v>9.9822422977166099</c:v>
                </c:pt>
                <c:pt idx="821">
                  <c:v>10.465817375309648</c:v>
                </c:pt>
                <c:pt idx="822">
                  <c:v>11.054994492346273</c:v>
                </c:pt>
                <c:pt idx="823">
                  <c:v>11.394112797915112</c:v>
                </c:pt>
                <c:pt idx="824">
                  <c:v>11.253099931330748</c:v>
                </c:pt>
                <c:pt idx="825">
                  <c:v>11.797940407099128</c:v>
                </c:pt>
                <c:pt idx="826">
                  <c:v>11.769104806950667</c:v>
                </c:pt>
                <c:pt idx="827">
                  <c:v>11.952504573996109</c:v>
                </c:pt>
                <c:pt idx="828">
                  <c:v>11.881312696745654</c:v>
                </c:pt>
                <c:pt idx="829">
                  <c:v>12.024884592475953</c:v>
                </c:pt>
                <c:pt idx="830">
                  <c:v>12.158275203086108</c:v>
                </c:pt>
                <c:pt idx="831">
                  <c:v>12.233217602218389</c:v>
                </c:pt>
                <c:pt idx="832">
                  <c:v>12.675265898252306</c:v>
                </c:pt>
                <c:pt idx="833">
                  <c:v>12.81069781450736</c:v>
                </c:pt>
                <c:pt idx="834">
                  <c:v>12.907029009398808</c:v>
                </c:pt>
                <c:pt idx="835">
                  <c:v>12.632097706759488</c:v>
                </c:pt>
                <c:pt idx="836">
                  <c:v>12.664063116695839</c:v>
                </c:pt>
                <c:pt idx="837">
                  <c:v>12.59305150615049</c:v>
                </c:pt>
                <c:pt idx="838">
                  <c:v>12.230404559904169</c:v>
                </c:pt>
                <c:pt idx="839">
                  <c:v>11.970483412054818</c:v>
                </c:pt>
                <c:pt idx="840">
                  <c:v>11.982065451044669</c:v>
                </c:pt>
                <c:pt idx="841">
                  <c:v>12.180718060653005</c:v>
                </c:pt>
                <c:pt idx="842">
                  <c:v>12.306393128287304</c:v>
                </c:pt>
                <c:pt idx="843">
                  <c:v>12.516226027780684</c:v>
                </c:pt>
                <c:pt idx="844">
                  <c:v>12.215889529184818</c:v>
                </c:pt>
                <c:pt idx="845">
                  <c:v>11.963115356472077</c:v>
                </c:pt>
                <c:pt idx="846">
                  <c:v>12.255610959882823</c:v>
                </c:pt>
                <c:pt idx="847">
                  <c:v>12.428115887620656</c:v>
                </c:pt>
                <c:pt idx="848">
                  <c:v>12.428115887620658</c:v>
                </c:pt>
                <c:pt idx="849">
                  <c:v>12.745903832844849</c:v>
                </c:pt>
                <c:pt idx="850">
                  <c:v>12.802469519840757</c:v>
                </c:pt>
                <c:pt idx="851">
                  <c:v>12.469575878138164</c:v>
                </c:pt>
                <c:pt idx="852">
                  <c:v>12.112643354456452</c:v>
                </c:pt>
                <c:pt idx="853">
                  <c:v>11.859481937587198</c:v>
                </c:pt>
                <c:pt idx="854">
                  <c:v>11.553056663912365</c:v>
                </c:pt>
                <c:pt idx="855">
                  <c:v>12.196597445489125</c:v>
                </c:pt>
                <c:pt idx="856">
                  <c:v>11.800492061911052</c:v>
                </c:pt>
                <c:pt idx="857">
                  <c:v>12.206819881234555</c:v>
                </c:pt>
                <c:pt idx="858">
                  <c:v>12.275598664857254</c:v>
                </c:pt>
                <c:pt idx="859">
                  <c:v>12.275598664857254</c:v>
                </c:pt>
                <c:pt idx="860">
                  <c:v>12.309887624724011</c:v>
                </c:pt>
                <c:pt idx="861">
                  <c:v>11.986641309911343</c:v>
                </c:pt>
                <c:pt idx="862">
                  <c:v>12.1764800606196</c:v>
                </c:pt>
                <c:pt idx="863">
                  <c:v>12.45456257892095</c:v>
                </c:pt>
                <c:pt idx="864">
                  <c:v>12.45456257892095</c:v>
                </c:pt>
                <c:pt idx="865">
                  <c:v>12.260260131605024</c:v>
                </c:pt>
                <c:pt idx="866">
                  <c:v>12.414351736287243</c:v>
                </c:pt>
                <c:pt idx="867">
                  <c:v>12.558336990102999</c:v>
                </c:pt>
                <c:pt idx="868">
                  <c:v>12.59356381102528</c:v>
                </c:pt>
                <c:pt idx="869">
                  <c:v>12.564157931040546</c:v>
                </c:pt>
                <c:pt idx="870">
                  <c:v>12.844479170495408</c:v>
                </c:pt>
                <c:pt idx="871">
                  <c:v>13.295807407737824</c:v>
                </c:pt>
                <c:pt idx="872">
                  <c:v>13.41608727794592</c:v>
                </c:pt>
                <c:pt idx="873">
                  <c:v>13.329650028881971</c:v>
                </c:pt>
                <c:pt idx="874">
                  <c:v>13.104132156304455</c:v>
                </c:pt>
                <c:pt idx="875">
                  <c:v>13.114795059869047</c:v>
                </c:pt>
                <c:pt idx="876">
                  <c:v>13.014714583844116</c:v>
                </c:pt>
                <c:pt idx="877">
                  <c:v>12.560648568968018</c:v>
                </c:pt>
                <c:pt idx="878">
                  <c:v>12.288030717927557</c:v>
                </c:pt>
                <c:pt idx="879">
                  <c:v>12.656164293483865</c:v>
                </c:pt>
                <c:pt idx="880">
                  <c:v>12.317222840178855</c:v>
                </c:pt>
                <c:pt idx="881">
                  <c:v>12.223984884300737</c:v>
                </c:pt>
                <c:pt idx="882">
                  <c:v>12.303072437316196</c:v>
                </c:pt>
                <c:pt idx="883">
                  <c:v>12.286543036385224</c:v>
                </c:pt>
                <c:pt idx="884">
                  <c:v>11.937921866666059</c:v>
                </c:pt>
                <c:pt idx="885">
                  <c:v>12.183983846246324</c:v>
                </c:pt>
                <c:pt idx="886">
                  <c:v>11.659598473324017</c:v>
                </c:pt>
                <c:pt idx="887">
                  <c:v>11.57277115724944</c:v>
                </c:pt>
                <c:pt idx="888">
                  <c:v>11.528179593118022</c:v>
                </c:pt>
                <c:pt idx="889">
                  <c:v>11.232537223313274</c:v>
                </c:pt>
                <c:pt idx="890">
                  <c:v>11.600797154663811</c:v>
                </c:pt>
                <c:pt idx="891">
                  <c:v>11.21883976137452</c:v>
                </c:pt>
                <c:pt idx="892">
                  <c:v>11.22612161218704</c:v>
                </c:pt>
                <c:pt idx="893">
                  <c:v>10.962889502159509</c:v>
                </c:pt>
                <c:pt idx="894">
                  <c:v>10.655807644619895</c:v>
                </c:pt>
                <c:pt idx="895">
                  <c:v>10.620633194982563</c:v>
                </c:pt>
                <c:pt idx="896">
                  <c:v>10.636011055973741</c:v>
                </c:pt>
                <c:pt idx="897">
                  <c:v>10.445248958567317</c:v>
                </c:pt>
                <c:pt idx="898">
                  <c:v>10.11259195899015</c:v>
                </c:pt>
                <c:pt idx="899">
                  <c:v>10.161597537598555</c:v>
                </c:pt>
                <c:pt idx="900">
                  <c:v>10.386509032994347</c:v>
                </c:pt>
                <c:pt idx="901">
                  <c:v>10.428765017246588</c:v>
                </c:pt>
                <c:pt idx="902">
                  <c:v>10.029526302346605</c:v>
                </c:pt>
                <c:pt idx="903">
                  <c:v>10.240022681426492</c:v>
                </c:pt>
                <c:pt idx="904">
                  <c:v>10.507754433074959</c:v>
                </c:pt>
                <c:pt idx="905">
                  <c:v>10.754343958535761</c:v>
                </c:pt>
                <c:pt idx="906">
                  <c:v>10.719091600092929</c:v>
                </c:pt>
                <c:pt idx="907">
                  <c:v>11.112136153434816</c:v>
                </c:pt>
                <c:pt idx="908">
                  <c:v>11.122195188291366</c:v>
                </c:pt>
                <c:pt idx="909">
                  <c:v>11.532562594670797</c:v>
                </c:pt>
                <c:pt idx="910">
                  <c:v>11.191874933009618</c:v>
                </c:pt>
                <c:pt idx="911">
                  <c:v>11.338866454505858</c:v>
                </c:pt>
                <c:pt idx="912">
                  <c:v>11.298110984937127</c:v>
                </c:pt>
                <c:pt idx="913">
                  <c:v>11.211744993820171</c:v>
                </c:pt>
                <c:pt idx="914">
                  <c:v>11.209443023773565</c:v>
                </c:pt>
                <c:pt idx="915">
                  <c:v>11.221523098276871</c:v>
                </c:pt>
                <c:pt idx="916">
                  <c:v>10.863077446695444</c:v>
                </c:pt>
                <c:pt idx="917">
                  <c:v>11.65249523326615</c:v>
                </c:pt>
                <c:pt idx="918">
                  <c:v>11.63956914548271</c:v>
                </c:pt>
                <c:pt idx="919">
                  <c:v>11.462327260925644</c:v>
                </c:pt>
                <c:pt idx="920">
                  <c:v>11.52631398056181</c:v>
                </c:pt>
                <c:pt idx="921">
                  <c:v>11.256730364303111</c:v>
                </c:pt>
                <c:pt idx="922">
                  <c:v>11.229569261839549</c:v>
                </c:pt>
                <c:pt idx="923">
                  <c:v>11.068117536711092</c:v>
                </c:pt>
                <c:pt idx="924">
                  <c:v>11.285827061988781</c:v>
                </c:pt>
                <c:pt idx="925">
                  <c:v>11.31570418888381</c:v>
                </c:pt>
                <c:pt idx="926">
                  <c:v>11.035524260266239</c:v>
                </c:pt>
                <c:pt idx="927">
                  <c:v>10.951015075452855</c:v>
                </c:pt>
                <c:pt idx="928">
                  <c:v>10.911274626664595</c:v>
                </c:pt>
                <c:pt idx="929">
                  <c:v>11.218264677105429</c:v>
                </c:pt>
                <c:pt idx="930">
                  <c:v>11.265705882556052</c:v>
                </c:pt>
                <c:pt idx="931">
                  <c:v>11.497825881443848</c:v>
                </c:pt>
                <c:pt idx="932">
                  <c:v>11.299252996529015</c:v>
                </c:pt>
                <c:pt idx="933">
                  <c:v>11.124708525842205</c:v>
                </c:pt>
                <c:pt idx="934">
                  <c:v>10.967792536252663</c:v>
                </c:pt>
                <c:pt idx="935">
                  <c:v>10.615063348490819</c:v>
                </c:pt>
                <c:pt idx="936">
                  <c:v>10.4043001862495</c:v>
                </c:pt>
                <c:pt idx="937">
                  <c:v>10.315037566582102</c:v>
                </c:pt>
                <c:pt idx="938">
                  <c:v>9.9359237439284573</c:v>
                </c:pt>
                <c:pt idx="939">
                  <c:v>9.9147983240432893</c:v>
                </c:pt>
                <c:pt idx="940">
                  <c:v>9.45936413785161</c:v>
                </c:pt>
                <c:pt idx="941">
                  <c:v>9.5874021283084012</c:v>
                </c:pt>
                <c:pt idx="942">
                  <c:v>9.96466876799796</c:v>
                </c:pt>
                <c:pt idx="943">
                  <c:v>10.477523305803519</c:v>
                </c:pt>
                <c:pt idx="944">
                  <c:v>10.657623855088861</c:v>
                </c:pt>
                <c:pt idx="945">
                  <c:v>10.7041344640123</c:v>
                </c:pt>
                <c:pt idx="946">
                  <c:v>10.85079651206475</c:v>
                </c:pt>
                <c:pt idx="947">
                  <c:v>11.525474356389198</c:v>
                </c:pt>
                <c:pt idx="948">
                  <c:v>10.775619633906148</c:v>
                </c:pt>
                <c:pt idx="949">
                  <c:v>10.862384537911662</c:v>
                </c:pt>
                <c:pt idx="950">
                  <c:v>10.752944082976203</c:v>
                </c:pt>
                <c:pt idx="951">
                  <c:v>10.805613833678336</c:v>
                </c:pt>
                <c:pt idx="952">
                  <c:v>10.834234867367901</c:v>
                </c:pt>
                <c:pt idx="953">
                  <c:v>11.171969532083699</c:v>
                </c:pt>
                <c:pt idx="954">
                  <c:v>11.929902792779215</c:v>
                </c:pt>
                <c:pt idx="955">
                  <c:v>11.365766369290297</c:v>
                </c:pt>
                <c:pt idx="956">
                  <c:v>11.886108273630741</c:v>
                </c:pt>
                <c:pt idx="957">
                  <c:v>11.979821744594451</c:v>
                </c:pt>
                <c:pt idx="958">
                  <c:v>11.940713762639581</c:v>
                </c:pt>
                <c:pt idx="959">
                  <c:v>12.027388100337042</c:v>
                </c:pt>
                <c:pt idx="960">
                  <c:v>12.032036090085432</c:v>
                </c:pt>
                <c:pt idx="961">
                  <c:v>12.232426499452842</c:v>
                </c:pt>
                <c:pt idx="962">
                  <c:v>11.848143087575197</c:v>
                </c:pt>
                <c:pt idx="963">
                  <c:v>11.73983202239191</c:v>
                </c:pt>
                <c:pt idx="964">
                  <c:v>11.906174416970041</c:v>
                </c:pt>
                <c:pt idx="965">
                  <c:v>11.43800493920366</c:v>
                </c:pt>
                <c:pt idx="966">
                  <c:v>11.465047397545158</c:v>
                </c:pt>
                <c:pt idx="967">
                  <c:v>11.726543734493521</c:v>
                </c:pt>
                <c:pt idx="968">
                  <c:v>11.60200205192635</c:v>
                </c:pt>
                <c:pt idx="969">
                  <c:v>11.977398069536182</c:v>
                </c:pt>
                <c:pt idx="970">
                  <c:v>12.432095127021503</c:v>
                </c:pt>
                <c:pt idx="971">
                  <c:v>12.558336990103001</c:v>
                </c:pt>
                <c:pt idx="972">
                  <c:v>12.572713242557068</c:v>
                </c:pt>
                <c:pt idx="973">
                  <c:v>12.38504127210838</c:v>
                </c:pt>
                <c:pt idx="974">
                  <c:v>12.248502212581458</c:v>
                </c:pt>
                <c:pt idx="975">
                  <c:v>12.216593686061701</c:v>
                </c:pt>
                <c:pt idx="976">
                  <c:v>12.287505674420856</c:v>
                </c:pt>
                <c:pt idx="977">
                  <c:v>11.965991235019317</c:v>
                </c:pt>
                <c:pt idx="978">
                  <c:v>11.755209323383363</c:v>
                </c:pt>
                <c:pt idx="979">
                  <c:v>11.799307433658067</c:v>
                </c:pt>
                <c:pt idx="980">
                  <c:v>11.56589350085493</c:v>
                </c:pt>
                <c:pt idx="981">
                  <c:v>11.058495493540031</c:v>
                </c:pt>
                <c:pt idx="982">
                  <c:v>11.106715976603805</c:v>
                </c:pt>
                <c:pt idx="983">
                  <c:v>11.16147367616194</c:v>
                </c:pt>
                <c:pt idx="984">
                  <c:v>10.48101201713011</c:v>
                </c:pt>
                <c:pt idx="985">
                  <c:v>10.436082979594849</c:v>
                </c:pt>
                <c:pt idx="986">
                  <c:v>10.563275803410832</c:v>
                </c:pt>
                <c:pt idx="987">
                  <c:v>11.108555261599053</c:v>
                </c:pt>
                <c:pt idx="988">
                  <c:v>11.124805181331519</c:v>
                </c:pt>
                <c:pt idx="989">
                  <c:v>11.137652886849949</c:v>
                </c:pt>
                <c:pt idx="990">
                  <c:v>11.183897795155012</c:v>
                </c:pt>
                <c:pt idx="991">
                  <c:v>11.097611871358263</c:v>
                </c:pt>
                <c:pt idx="992">
                  <c:v>11.156752138484118</c:v>
                </c:pt>
                <c:pt idx="993">
                  <c:v>11.211169545620349</c:v>
                </c:pt>
                <c:pt idx="994">
                  <c:v>11.611451522166078</c:v>
                </c:pt>
                <c:pt idx="995">
                  <c:v>11.252239920380582</c:v>
                </c:pt>
                <c:pt idx="996">
                  <c:v>11.263414940817558</c:v>
                </c:pt>
                <c:pt idx="997">
                  <c:v>11.130989386895614</c:v>
                </c:pt>
                <c:pt idx="998">
                  <c:v>10.439585539501037</c:v>
                </c:pt>
                <c:pt idx="999">
                  <c:v>10.581379465733637</c:v>
                </c:pt>
                <c:pt idx="1000">
                  <c:v>10.205838514543833</c:v>
                </c:pt>
                <c:pt idx="1001">
                  <c:v>10.085228205498833</c:v>
                </c:pt>
                <c:pt idx="1002">
                  <c:v>10.118544669889991</c:v>
                </c:pt>
                <c:pt idx="1003">
                  <c:v>10.459239882741539</c:v>
                </c:pt>
                <c:pt idx="1004">
                  <c:v>10.893324383723833</c:v>
                </c:pt>
                <c:pt idx="1005">
                  <c:v>10.863077446695444</c:v>
                </c:pt>
                <c:pt idx="1006">
                  <c:v>10.468488301174528</c:v>
                </c:pt>
                <c:pt idx="1007">
                  <c:v>10.5023294906979</c:v>
                </c:pt>
                <c:pt idx="1008">
                  <c:v>10.539939401184675</c:v>
                </c:pt>
                <c:pt idx="1009">
                  <c:v>10.322748654546725</c:v>
                </c:pt>
                <c:pt idx="1010">
                  <c:v>10.066339096002025</c:v>
                </c:pt>
                <c:pt idx="1011">
                  <c:v>10.41906854029245</c:v>
                </c:pt>
                <c:pt idx="1012">
                  <c:v>10.54646656417434</c:v>
                </c:pt>
                <c:pt idx="1013">
                  <c:v>10.528609257790215</c:v>
                </c:pt>
                <c:pt idx="1014">
                  <c:v>10.685534388194645</c:v>
                </c:pt>
                <c:pt idx="1015">
                  <c:v>10.497926062461254</c:v>
                </c:pt>
                <c:pt idx="1016">
                  <c:v>10.448028059044475</c:v>
                </c:pt>
                <c:pt idx="1017">
                  <c:v>10.647933819462628</c:v>
                </c:pt>
                <c:pt idx="1018">
                  <c:v>10.100676012722044</c:v>
                </c:pt>
                <c:pt idx="1019">
                  <c:v>10.412771314669929</c:v>
                </c:pt>
                <c:pt idx="1020">
                  <c:v>10.833341604628769</c:v>
                </c:pt>
                <c:pt idx="1021">
                  <c:v>11.232154304610519</c:v>
                </c:pt>
                <c:pt idx="1022">
                  <c:v>11.526034112633514</c:v>
                </c:pt>
                <c:pt idx="1023">
                  <c:v>11.2355044007728</c:v>
                </c:pt>
                <c:pt idx="1024">
                  <c:v>11.221810560603156</c:v>
                </c:pt>
                <c:pt idx="1025">
                  <c:v>11.132534901509779</c:v>
                </c:pt>
                <c:pt idx="1026">
                  <c:v>11.540857760559325</c:v>
                </c:pt>
                <c:pt idx="1027">
                  <c:v>11.578066026034996</c:v>
                </c:pt>
                <c:pt idx="1028">
                  <c:v>11.702954318672967</c:v>
                </c:pt>
                <c:pt idx="1029">
                  <c:v>11.878506839295198</c:v>
                </c:pt>
                <c:pt idx="1030">
                  <c:v>11.916375287812984</c:v>
                </c:pt>
                <c:pt idx="1031">
                  <c:v>12.162342728486207</c:v>
                </c:pt>
                <c:pt idx="1032">
                  <c:v>12.115661241212878</c:v>
                </c:pt>
                <c:pt idx="1033">
                  <c:v>11.927829571199025</c:v>
                </c:pt>
                <c:pt idx="1034">
                  <c:v>11.519221897258491</c:v>
                </c:pt>
                <c:pt idx="1035">
                  <c:v>11.496984176786986</c:v>
                </c:pt>
                <c:pt idx="1036">
                  <c:v>11.609043564097703</c:v>
                </c:pt>
                <c:pt idx="1037">
                  <c:v>11.613488635184945</c:v>
                </c:pt>
                <c:pt idx="1038">
                  <c:v>11.665775695625438</c:v>
                </c:pt>
                <c:pt idx="1039">
                  <c:v>12.286980608478158</c:v>
                </c:pt>
                <c:pt idx="1040">
                  <c:v>12.911693458140544</c:v>
                </c:pt>
                <c:pt idx="1041">
                  <c:v>14.551281213220935</c:v>
                </c:pt>
                <c:pt idx="1042">
                  <c:v>15.132035376103769</c:v>
                </c:pt>
                <c:pt idx="1043">
                  <c:v>16.278820596099706</c:v>
                </c:pt>
                <c:pt idx="1044">
                  <c:v>16.698271110043581</c:v>
                </c:pt>
                <c:pt idx="1045">
                  <c:v>17.650185048833471</c:v>
                </c:pt>
                <c:pt idx="1046">
                  <c:v>18.349123210133101</c:v>
                </c:pt>
                <c:pt idx="1047">
                  <c:v>18.651818211119398</c:v>
                </c:pt>
                <c:pt idx="1048">
                  <c:v>18.989810510529232</c:v>
                </c:pt>
                <c:pt idx="1049">
                  <c:v>19.131969529155018</c:v>
                </c:pt>
                <c:pt idx="1050">
                  <c:v>19.369691433695042</c:v>
                </c:pt>
                <c:pt idx="1051">
                  <c:v>19.887911711843067</c:v>
                </c:pt>
                <c:pt idx="1052">
                  <c:v>20.018969498576752</c:v>
                </c:pt>
                <c:pt idx="1053">
                  <c:v>19.529079503052856</c:v>
                </c:pt>
                <c:pt idx="1054">
                  <c:v>19.709175855505119</c:v>
                </c:pt>
                <c:pt idx="1055">
                  <c:v>19.603927629294688</c:v>
                </c:pt>
                <c:pt idx="1056">
                  <c:v>18.990773084990284</c:v>
                </c:pt>
                <c:pt idx="1057">
                  <c:v>19.090784806186701</c:v>
                </c:pt>
                <c:pt idx="1058">
                  <c:v>18.911167548951497</c:v>
                </c:pt>
                <c:pt idx="1059">
                  <c:v>18.918728275703216</c:v>
                </c:pt>
                <c:pt idx="1060">
                  <c:v>18.992471626795275</c:v>
                </c:pt>
                <c:pt idx="1061">
                  <c:v>18.130470994836944</c:v>
                </c:pt>
                <c:pt idx="1062">
                  <c:v>16.958646730347652</c:v>
                </c:pt>
                <c:pt idx="1063">
                  <c:v>15.45071943900334</c:v>
                </c:pt>
                <c:pt idx="1064">
                  <c:v>14.800610275124772</c:v>
                </c:pt>
                <c:pt idx="1065">
                  <c:v>13.894533619957489</c:v>
                </c:pt>
                <c:pt idx="1066">
                  <c:v>11.45416297519664</c:v>
                </c:pt>
                <c:pt idx="1067">
                  <c:v>11.178608604051785</c:v>
                </c:pt>
                <c:pt idx="1068">
                  <c:v>9.3287623215308102</c:v>
                </c:pt>
                <c:pt idx="1069">
                  <c:v>5.3779717966126661</c:v>
                </c:pt>
                <c:pt idx="1070">
                  <c:v>5.2159804076418101</c:v>
                </c:pt>
                <c:pt idx="1071">
                  <c:v>5.0278792639116867</c:v>
                </c:pt>
                <c:pt idx="1072">
                  <c:v>5.3038837464351465</c:v>
                </c:pt>
                <c:pt idx="1073">
                  <c:v>5.3127964812905155</c:v>
                </c:pt>
                <c:pt idx="1074">
                  <c:v>5.3127964812905155</c:v>
                </c:pt>
                <c:pt idx="1075">
                  <c:v>5.2927217219315859</c:v>
                </c:pt>
                <c:pt idx="1076">
                  <c:v>5.256025727830191</c:v>
                </c:pt>
                <c:pt idx="1077">
                  <c:v>5.3227044625546256</c:v>
                </c:pt>
                <c:pt idx="1078">
                  <c:v>5.1047100325218313</c:v>
                </c:pt>
                <c:pt idx="1079">
                  <c:v>5.123632783799577</c:v>
                </c:pt>
                <c:pt idx="1080">
                  <c:v>5.06283103258603</c:v>
                </c:pt>
                <c:pt idx="1081">
                  <c:v>5.0577312266756849</c:v>
                </c:pt>
                <c:pt idx="1082">
                  <c:v>5.2316242671964011</c:v>
                </c:pt>
                <c:pt idx="1083">
                  <c:v>5.1341152874615332</c:v>
                </c:pt>
                <c:pt idx="1084">
                  <c:v>9.766521706142834</c:v>
                </c:pt>
                <c:pt idx="1085">
                  <c:v>12.601416544370366</c:v>
                </c:pt>
                <c:pt idx="1086">
                  <c:v>15.351858841601986</c:v>
                </c:pt>
                <c:pt idx="1087">
                  <c:v>17.542268462080351</c:v>
                </c:pt>
                <c:pt idx="1088">
                  <c:v>18.441596273595177</c:v>
                </c:pt>
                <c:pt idx="1089">
                  <c:v>18.535348385853077</c:v>
                </c:pt>
                <c:pt idx="1090">
                  <c:v>20.100981626915424</c:v>
                </c:pt>
                <c:pt idx="1091">
                  <c:v>21.097469654118512</c:v>
                </c:pt>
                <c:pt idx="1092">
                  <c:v>21.031313060107731</c:v>
                </c:pt>
                <c:pt idx="1093">
                  <c:v>21.757065346069041</c:v>
                </c:pt>
                <c:pt idx="1094">
                  <c:v>22.737539421070334</c:v>
                </c:pt>
                <c:pt idx="1095">
                  <c:v>23.498753112653926</c:v>
                </c:pt>
                <c:pt idx="1096">
                  <c:v>23.90217518333062</c:v>
                </c:pt>
                <c:pt idx="1097">
                  <c:v>23.83933678806158</c:v>
                </c:pt>
                <c:pt idx="1098">
                  <c:v>23.637131350792679</c:v>
                </c:pt>
                <c:pt idx="1099">
                  <c:v>23.792743088091193</c:v>
                </c:pt>
                <c:pt idx="1100">
                  <c:v>23.688752378445621</c:v>
                </c:pt>
                <c:pt idx="1101">
                  <c:v>23.522306960227855</c:v>
                </c:pt>
                <c:pt idx="1102">
                  <c:v>23.335191938265709</c:v>
                </c:pt>
                <c:pt idx="1103">
                  <c:v>23.217948192714438</c:v>
                </c:pt>
                <c:pt idx="1104">
                  <c:v>22.973804624500648</c:v>
                </c:pt>
                <c:pt idx="1105">
                  <c:v>22.09427503330474</c:v>
                </c:pt>
                <c:pt idx="1106">
                  <c:v>21.656308524878551</c:v>
                </c:pt>
                <c:pt idx="1107">
                  <c:v>20.859643601528667</c:v>
                </c:pt>
                <c:pt idx="1108">
                  <c:v>19.823142769180468</c:v>
                </c:pt>
                <c:pt idx="1109">
                  <c:v>19.039912803631548</c:v>
                </c:pt>
                <c:pt idx="1110">
                  <c:v>17.995758162076889</c:v>
                </c:pt>
                <c:pt idx="1111">
                  <c:v>16.622112490773066</c:v>
                </c:pt>
                <c:pt idx="1112">
                  <c:v>15.138074194645123</c:v>
                </c:pt>
                <c:pt idx="1113">
                  <c:v>13.435949210338498</c:v>
                </c:pt>
                <c:pt idx="1114">
                  <c:v>11.34540786265053</c:v>
                </c:pt>
                <c:pt idx="1115">
                  <c:v>11.220660667110987</c:v>
                </c:pt>
                <c:pt idx="1116">
                  <c:v>11.127801085086276</c:v>
                </c:pt>
                <c:pt idx="1117">
                  <c:v>11.242010305053306</c:v>
                </c:pt>
                <c:pt idx="1118">
                  <c:v>11.153281979970345</c:v>
                </c:pt>
                <c:pt idx="1119">
                  <c:v>11.291256489792424</c:v>
                </c:pt>
                <c:pt idx="1120">
                  <c:v>11.578251766933324</c:v>
                </c:pt>
                <c:pt idx="1121">
                  <c:v>11.373048692375312</c:v>
                </c:pt>
                <c:pt idx="1122">
                  <c:v>11.897049421862405</c:v>
                </c:pt>
                <c:pt idx="1123">
                  <c:v>11.73800004946713</c:v>
                </c:pt>
                <c:pt idx="1124">
                  <c:v>11.629772693532139</c:v>
                </c:pt>
                <c:pt idx="1125">
                  <c:v>11.223247761792512</c:v>
                </c:pt>
                <c:pt idx="1126">
                  <c:v>11.082098322330769</c:v>
                </c:pt>
                <c:pt idx="1127">
                  <c:v>11.04516631494208</c:v>
                </c:pt>
                <c:pt idx="1128">
                  <c:v>11.479575129824724</c:v>
                </c:pt>
                <c:pt idx="1129">
                  <c:v>11.479575129824724</c:v>
                </c:pt>
                <c:pt idx="1130">
                  <c:v>11.198502203995998</c:v>
                </c:pt>
                <c:pt idx="1131">
                  <c:v>11.520901995750979</c:v>
                </c:pt>
                <c:pt idx="1132">
                  <c:v>11.417586887016917</c:v>
                </c:pt>
                <c:pt idx="1133">
                  <c:v>10.96269333518412</c:v>
                </c:pt>
                <c:pt idx="1134">
                  <c:v>10.975730803307208</c:v>
                </c:pt>
                <c:pt idx="1135">
                  <c:v>11.260455117905561</c:v>
                </c:pt>
                <c:pt idx="1136">
                  <c:v>11.173028199185078</c:v>
                </c:pt>
                <c:pt idx="1137">
                  <c:v>11.391470115742283</c:v>
                </c:pt>
                <c:pt idx="1138">
                  <c:v>11.324727915742232</c:v>
                </c:pt>
                <c:pt idx="1139">
                  <c:v>11.716636458150996</c:v>
                </c:pt>
                <c:pt idx="1140">
                  <c:v>11.755758140688569</c:v>
                </c:pt>
                <c:pt idx="1141">
                  <c:v>11.814607324687483</c:v>
                </c:pt>
                <c:pt idx="1142">
                  <c:v>11.850048772641339</c:v>
                </c:pt>
                <c:pt idx="1143">
                  <c:v>11.794020719465554</c:v>
                </c:pt>
                <c:pt idx="1144">
                  <c:v>11.381554592683575</c:v>
                </c:pt>
                <c:pt idx="1145">
                  <c:v>11.900121983652372</c:v>
                </c:pt>
                <c:pt idx="1146">
                  <c:v>11.915472908099618</c:v>
                </c:pt>
                <c:pt idx="1147">
                  <c:v>11.876424645725303</c:v>
                </c:pt>
                <c:pt idx="1148">
                  <c:v>11.493148964417001</c:v>
                </c:pt>
                <c:pt idx="1149">
                  <c:v>11.536011871200254</c:v>
                </c:pt>
                <c:pt idx="1150">
                  <c:v>12.122138283287308</c:v>
                </c:pt>
                <c:pt idx="1151">
                  <c:v>11.859481937587198</c:v>
                </c:pt>
                <c:pt idx="1152">
                  <c:v>11.741480553635384</c:v>
                </c:pt>
                <c:pt idx="1153">
                  <c:v>10.914624696161775</c:v>
                </c:pt>
                <c:pt idx="1154">
                  <c:v>10.942174500331225</c:v>
                </c:pt>
                <c:pt idx="1155">
                  <c:v>10.966910151887353</c:v>
                </c:pt>
                <c:pt idx="1156">
                  <c:v>11.136687409261917</c:v>
                </c:pt>
                <c:pt idx="1157">
                  <c:v>11.528366137768682</c:v>
                </c:pt>
                <c:pt idx="1158">
                  <c:v>11.325487480310359</c:v>
                </c:pt>
                <c:pt idx="1159">
                  <c:v>10.829271364204052</c:v>
                </c:pt>
                <c:pt idx="1160">
                  <c:v>11.01748366173325</c:v>
                </c:pt>
                <c:pt idx="1161">
                  <c:v>11.082098322330769</c:v>
                </c:pt>
                <c:pt idx="1162">
                  <c:v>11.351282434299033</c:v>
                </c:pt>
                <c:pt idx="1163">
                  <c:v>11.851772699855166</c:v>
                </c:pt>
                <c:pt idx="1164">
                  <c:v>11.94620558826062</c:v>
                </c:pt>
                <c:pt idx="1165">
                  <c:v>12.260874041358736</c:v>
                </c:pt>
                <c:pt idx="1166">
                  <c:v>12.174272184644403</c:v>
                </c:pt>
                <c:pt idx="1167">
                  <c:v>12.230668310105871</c:v>
                </c:pt>
                <c:pt idx="1168">
                  <c:v>12.183101287818603</c:v>
                </c:pt>
                <c:pt idx="1169">
                  <c:v>12.592112226413034</c:v>
                </c:pt>
                <c:pt idx="1170">
                  <c:v>12.650385688369985</c:v>
                </c:pt>
                <c:pt idx="1171">
                  <c:v>12.490512528547676</c:v>
                </c:pt>
                <c:pt idx="1172">
                  <c:v>12.511242256294892</c:v>
                </c:pt>
                <c:pt idx="1173">
                  <c:v>12.537170540488404</c:v>
                </c:pt>
                <c:pt idx="1174">
                  <c:v>12.632863781099992</c:v>
                </c:pt>
                <c:pt idx="1175">
                  <c:v>12.632863781099994</c:v>
                </c:pt>
                <c:pt idx="1176">
                  <c:v>12.211839839191493</c:v>
                </c:pt>
                <c:pt idx="1177">
                  <c:v>12.20206222655192</c:v>
                </c:pt>
                <c:pt idx="1178">
                  <c:v>12.53974327051087</c:v>
                </c:pt>
                <c:pt idx="1179">
                  <c:v>12.836104993254359</c:v>
                </c:pt>
                <c:pt idx="1180">
                  <c:v>12.71465161109017</c:v>
                </c:pt>
                <c:pt idx="1181">
                  <c:v>12.50178481881343</c:v>
                </c:pt>
                <c:pt idx="1182">
                  <c:v>12.409327050628587</c:v>
                </c:pt>
                <c:pt idx="1183">
                  <c:v>12.331444202891738</c:v>
                </c:pt>
                <c:pt idx="1184">
                  <c:v>12.30770368072262</c:v>
                </c:pt>
                <c:pt idx="1185">
                  <c:v>12.433132980022561</c:v>
                </c:pt>
                <c:pt idx="1186">
                  <c:v>12.47509346615276</c:v>
                </c:pt>
                <c:pt idx="1187">
                  <c:v>12.326647417653342</c:v>
                </c:pt>
                <c:pt idx="1188">
                  <c:v>12.0013440107563</c:v>
                </c:pt>
                <c:pt idx="1189">
                  <c:v>12.013164821655369</c:v>
                </c:pt>
                <c:pt idx="1190">
                  <c:v>12.187336985400005</c:v>
                </c:pt>
                <c:pt idx="1191">
                  <c:v>11.854584885001199</c:v>
                </c:pt>
                <c:pt idx="1192">
                  <c:v>12.339550888465601</c:v>
                </c:pt>
                <c:pt idx="1193">
                  <c:v>12.693491686009635</c:v>
                </c:pt>
                <c:pt idx="1194">
                  <c:v>12.394067259209402</c:v>
                </c:pt>
                <c:pt idx="1195">
                  <c:v>12.749868226179681</c:v>
                </c:pt>
                <c:pt idx="1196">
                  <c:v>12.367143427612527</c:v>
                </c:pt>
                <c:pt idx="1197">
                  <c:v>12.322721386349341</c:v>
                </c:pt>
                <c:pt idx="1198">
                  <c:v>12.17524369940023</c:v>
                </c:pt>
                <c:pt idx="1199">
                  <c:v>12.727584132484155</c:v>
                </c:pt>
                <c:pt idx="1200">
                  <c:v>12.473283276624672</c:v>
                </c:pt>
                <c:pt idx="1201">
                  <c:v>12.063630581035666</c:v>
                </c:pt>
                <c:pt idx="1202">
                  <c:v>12.023274919294918</c:v>
                </c:pt>
                <c:pt idx="1203">
                  <c:v>12.112554581698431</c:v>
                </c:pt>
                <c:pt idx="1204">
                  <c:v>11.958170824267629</c:v>
                </c:pt>
                <c:pt idx="1205">
                  <c:v>11.890540199526644</c:v>
                </c:pt>
                <c:pt idx="1206">
                  <c:v>12.039897831167266</c:v>
                </c:pt>
                <c:pt idx="1207">
                  <c:v>12.407247275130635</c:v>
                </c:pt>
                <c:pt idx="1208">
                  <c:v>12.828815012449745</c:v>
                </c:pt>
                <c:pt idx="1209">
                  <c:v>12.583057392117917</c:v>
                </c:pt>
                <c:pt idx="1210">
                  <c:v>12.622986371942122</c:v>
                </c:pt>
                <c:pt idx="1211">
                  <c:v>12.823114210850504</c:v>
                </c:pt>
                <c:pt idx="1212">
                  <c:v>12.823114210850504</c:v>
                </c:pt>
                <c:pt idx="1213">
                  <c:v>12.837277706925686</c:v>
                </c:pt>
                <c:pt idx="1214">
                  <c:v>13.1900907738975</c:v>
                </c:pt>
                <c:pt idx="1215">
                  <c:v>13.613560601770008</c:v>
                </c:pt>
                <c:pt idx="1216">
                  <c:v>13.554192304680427</c:v>
                </c:pt>
                <c:pt idx="1217">
                  <c:v>13.63676245751097</c:v>
                </c:pt>
                <c:pt idx="1218">
                  <c:v>13.821908742656442</c:v>
                </c:pt>
                <c:pt idx="1219">
                  <c:v>13.786076816066803</c:v>
                </c:pt>
                <c:pt idx="1220">
                  <c:v>13.813504378896996</c:v>
                </c:pt>
                <c:pt idx="1221">
                  <c:v>13.693731396879834</c:v>
                </c:pt>
                <c:pt idx="1222">
                  <c:v>13.669210358610954</c:v>
                </c:pt>
                <c:pt idx="1223">
                  <c:v>13.554192304680425</c:v>
                </c:pt>
                <c:pt idx="1224">
                  <c:v>13.131919578947967</c:v>
                </c:pt>
                <c:pt idx="1225">
                  <c:v>13.260337821480453</c:v>
                </c:pt>
                <c:pt idx="1226">
                  <c:v>13.054805896268521</c:v>
                </c:pt>
                <c:pt idx="1227">
                  <c:v>13.41071630555046</c:v>
                </c:pt>
                <c:pt idx="1228">
                  <c:v>13.412319806082959</c:v>
                </c:pt>
                <c:pt idx="1229">
                  <c:v>13.661105608683833</c:v>
                </c:pt>
                <c:pt idx="1230">
                  <c:v>13.611743822614098</c:v>
                </c:pt>
                <c:pt idx="1231">
                  <c:v>13.710917085003029</c:v>
                </c:pt>
                <c:pt idx="1232">
                  <c:v>14.331032573532724</c:v>
                </c:pt>
                <c:pt idx="1233">
                  <c:v>14.663318288361829</c:v>
                </c:pt>
                <c:pt idx="1234">
                  <c:v>15.02836028657903</c:v>
                </c:pt>
                <c:pt idx="1235">
                  <c:v>16.183424415322353</c:v>
                </c:pt>
                <c:pt idx="1236">
                  <c:v>17.24528921183985</c:v>
                </c:pt>
                <c:pt idx="1237">
                  <c:v>17.310323851042099</c:v>
                </c:pt>
                <c:pt idx="1238">
                  <c:v>17.594965066715101</c:v>
                </c:pt>
                <c:pt idx="1239">
                  <c:v>17.635984718445616</c:v>
                </c:pt>
                <c:pt idx="1240">
                  <c:v>17.9832060246423</c:v>
                </c:pt>
                <c:pt idx="1241">
                  <c:v>18.370031696111166</c:v>
                </c:pt>
                <c:pt idx="1242">
                  <c:v>17.756658602653339</c:v>
                </c:pt>
                <c:pt idx="1243">
                  <c:v>16.962260449889705</c:v>
                </c:pt>
                <c:pt idx="1244">
                  <c:v>17.536199119817628</c:v>
                </c:pt>
                <c:pt idx="1245">
                  <c:v>16.929137571794119</c:v>
                </c:pt>
                <c:pt idx="1246">
                  <c:v>17.152635460062875</c:v>
                </c:pt>
                <c:pt idx="1247">
                  <c:v>17.470897460191221</c:v>
                </c:pt>
                <c:pt idx="1248">
                  <c:v>17.54312658343947</c:v>
                </c:pt>
                <c:pt idx="1249">
                  <c:v>16.990129962099534</c:v>
                </c:pt>
                <c:pt idx="1250">
                  <c:v>17.005818106235456</c:v>
                </c:pt>
                <c:pt idx="1251">
                  <c:v>16.889329837669443</c:v>
                </c:pt>
                <c:pt idx="1252">
                  <c:v>16.87181272170033</c:v>
                </c:pt>
                <c:pt idx="1253">
                  <c:v>16.903330460153743</c:v>
                </c:pt>
                <c:pt idx="1254">
                  <c:v>15.926646367522855</c:v>
                </c:pt>
                <c:pt idx="1255">
                  <c:v>15.53871336061084</c:v>
                </c:pt>
                <c:pt idx="1256">
                  <c:v>15.49880328366698</c:v>
                </c:pt>
                <c:pt idx="1257">
                  <c:v>15.559321100815406</c:v>
                </c:pt>
                <c:pt idx="1258">
                  <c:v>13.582721471805462</c:v>
                </c:pt>
                <c:pt idx="1259">
                  <c:v>12.771187329549731</c:v>
                </c:pt>
                <c:pt idx="1260">
                  <c:v>12.683322382824883</c:v>
                </c:pt>
                <c:pt idx="1261">
                  <c:v>9.3802583819331975</c:v>
                </c:pt>
                <c:pt idx="1262">
                  <c:v>6.3186019959161612</c:v>
                </c:pt>
                <c:pt idx="1263">
                  <c:v>6.2539449915224896</c:v>
                </c:pt>
                <c:pt idx="1264">
                  <c:v>6.2187714445515603</c:v>
                </c:pt>
                <c:pt idx="1265">
                  <c:v>6.2491289715628202</c:v>
                </c:pt>
                <c:pt idx="1266">
                  <c:v>6.1287266477287643</c:v>
                </c:pt>
                <c:pt idx="1267">
                  <c:v>5.9068030761694743</c:v>
                </c:pt>
                <c:pt idx="1268">
                  <c:v>5.8807138766415701</c:v>
                </c:pt>
                <c:pt idx="1269">
                  <c:v>5.9011571673679812</c:v>
                </c:pt>
                <c:pt idx="1270">
                  <c:v>5.846605485144754</c:v>
                </c:pt>
                <c:pt idx="1271">
                  <c:v>6.0098485479995647</c:v>
                </c:pt>
                <c:pt idx="1272">
                  <c:v>6.2470638264398168</c:v>
                </c:pt>
                <c:pt idx="1273">
                  <c:v>6.1865271582342451</c:v>
                </c:pt>
                <c:pt idx="1274">
                  <c:v>6.1141471767471165</c:v>
                </c:pt>
                <c:pt idx="1275">
                  <c:v>6.1896549142088055</c:v>
                </c:pt>
                <c:pt idx="1276">
                  <c:v>6.5304909331502019</c:v>
                </c:pt>
                <c:pt idx="1277">
                  <c:v>9.6018591389757013</c:v>
                </c:pt>
                <c:pt idx="1278">
                  <c:v>9.9665030374599759</c:v>
                </c:pt>
                <c:pt idx="1279">
                  <c:v>10.277337004982298</c:v>
                </c:pt>
                <c:pt idx="1280">
                  <c:v>10.339401617426978</c:v>
                </c:pt>
                <c:pt idx="1281">
                  <c:v>12.969691716683416</c:v>
                </c:pt>
                <c:pt idx="1282">
                  <c:v>14.609100124635088</c:v>
                </c:pt>
                <c:pt idx="1283">
                  <c:v>14.712075356329661</c:v>
                </c:pt>
                <c:pt idx="1284">
                  <c:v>14.578449258947225</c:v>
                </c:pt>
                <c:pt idx="1285">
                  <c:v>15.923135261597817</c:v>
                </c:pt>
                <c:pt idx="1286">
                  <c:v>16.186347625772946</c:v>
                </c:pt>
                <c:pt idx="1287">
                  <c:v>17.413688843544463</c:v>
                </c:pt>
                <c:pt idx="1288">
                  <c:v>17.375115068853901</c:v>
                </c:pt>
                <c:pt idx="1289">
                  <c:v>17.303986736854817</c:v>
                </c:pt>
                <c:pt idx="1290">
                  <c:v>16.988104630144331</c:v>
                </c:pt>
                <c:pt idx="1291">
                  <c:v>16.925326190849812</c:v>
                </c:pt>
                <c:pt idx="1292">
                  <c:v>16.790614377764609</c:v>
                </c:pt>
                <c:pt idx="1293">
                  <c:v>17.065402338920908</c:v>
                </c:pt>
                <c:pt idx="1294">
                  <c:v>16.950592339064769</c:v>
                </c:pt>
                <c:pt idx="1295">
                  <c:v>16.453061289816301</c:v>
                </c:pt>
                <c:pt idx="1296">
                  <c:v>16.181962612071956</c:v>
                </c:pt>
                <c:pt idx="1297">
                  <c:v>15.91665118504004</c:v>
                </c:pt>
                <c:pt idx="1298">
                  <c:v>15.825595166235974</c:v>
                </c:pt>
                <c:pt idx="1299">
                  <c:v>15.33931627080927</c:v>
                </c:pt>
                <c:pt idx="1300">
                  <c:v>14.86237943872532</c:v>
                </c:pt>
                <c:pt idx="1301">
                  <c:v>14.773559642690355</c:v>
                </c:pt>
                <c:pt idx="1302">
                  <c:v>13.925299942716626</c:v>
                </c:pt>
                <c:pt idx="1303">
                  <c:v>13.175408830448578</c:v>
                </c:pt>
                <c:pt idx="1304">
                  <c:v>12.572371141874243</c:v>
                </c:pt>
                <c:pt idx="1305">
                  <c:v>11.385332953041509</c:v>
                </c:pt>
                <c:pt idx="1306">
                  <c:v>10.903190812439867</c:v>
                </c:pt>
                <c:pt idx="1307">
                  <c:v>11.257207965690059</c:v>
                </c:pt>
                <c:pt idx="1308">
                  <c:v>11.509976971848081</c:v>
                </c:pt>
                <c:pt idx="1309">
                  <c:v>11.342374635216006</c:v>
                </c:pt>
                <c:pt idx="1310">
                  <c:v>11.600982531618808</c:v>
                </c:pt>
                <c:pt idx="1311">
                  <c:v>11.553056663912365</c:v>
                </c:pt>
                <c:pt idx="1312">
                  <c:v>11.368036684692573</c:v>
                </c:pt>
                <c:pt idx="1313">
                  <c:v>11.551288156067969</c:v>
                </c:pt>
                <c:pt idx="1314">
                  <c:v>11.354786778962382</c:v>
                </c:pt>
                <c:pt idx="1315">
                  <c:v>11.04467954431269</c:v>
                </c:pt>
                <c:pt idx="1316">
                  <c:v>10.905163026986864</c:v>
                </c:pt>
                <c:pt idx="1317">
                  <c:v>11.168215267358725</c:v>
                </c:pt>
                <c:pt idx="1318">
                  <c:v>11.485474697732702</c:v>
                </c:pt>
                <c:pt idx="1319">
                  <c:v>11.532376117900908</c:v>
                </c:pt>
                <c:pt idx="1320">
                  <c:v>11.522021925309456</c:v>
                </c:pt>
                <c:pt idx="1321">
                  <c:v>11.342279833788135</c:v>
                </c:pt>
                <c:pt idx="1322">
                  <c:v>11.410332989213382</c:v>
                </c:pt>
                <c:pt idx="1323">
                  <c:v>11.492026221109429</c:v>
                </c:pt>
                <c:pt idx="1324">
                  <c:v>11.629125467539893</c:v>
                </c:pt>
                <c:pt idx="1325">
                  <c:v>11.106715976603805</c:v>
                </c:pt>
                <c:pt idx="1326">
                  <c:v>11.05042207144095</c:v>
                </c:pt>
                <c:pt idx="1327">
                  <c:v>11.592915893972972</c:v>
                </c:pt>
                <c:pt idx="1328">
                  <c:v>11.539366934425468</c:v>
                </c:pt>
                <c:pt idx="1329">
                  <c:v>11.543373093060426</c:v>
                </c:pt>
                <c:pt idx="1330">
                  <c:v>11.617654344708241</c:v>
                </c:pt>
                <c:pt idx="1331">
                  <c:v>11.934318455163131</c:v>
                </c:pt>
                <c:pt idx="1332">
                  <c:v>12.047665191195337</c:v>
                </c:pt>
                <c:pt idx="1333">
                  <c:v>12.557480741798697</c:v>
                </c:pt>
                <c:pt idx="1334">
                  <c:v>12.538971506930418</c:v>
                </c:pt>
                <c:pt idx="1335">
                  <c:v>12.706530367432906</c:v>
                </c:pt>
                <c:pt idx="1336">
                  <c:v>12.683152825358446</c:v>
                </c:pt>
                <c:pt idx="1337">
                  <c:v>12.937484091725713</c:v>
                </c:pt>
                <c:pt idx="1338">
                  <c:v>12.85259690925643</c:v>
                </c:pt>
                <c:pt idx="1339">
                  <c:v>12.825461906624634</c:v>
                </c:pt>
                <c:pt idx="1340">
                  <c:v>12.957581747038402</c:v>
                </c:pt>
                <c:pt idx="1341">
                  <c:v>12.652765433622783</c:v>
                </c:pt>
                <c:pt idx="1342">
                  <c:v>12.432181618080804</c:v>
                </c:pt>
                <c:pt idx="1343">
                  <c:v>12.271305808126499</c:v>
                </c:pt>
                <c:pt idx="1344">
                  <c:v>12.165171509249772</c:v>
                </c:pt>
                <c:pt idx="1345">
                  <c:v>12.060777984499916</c:v>
                </c:pt>
                <c:pt idx="1346">
                  <c:v>12.037396925049155</c:v>
                </c:pt>
                <c:pt idx="1347">
                  <c:v>12.378441196354769</c:v>
                </c:pt>
                <c:pt idx="1348">
                  <c:v>12.248765573090054</c:v>
                </c:pt>
                <c:pt idx="1349">
                  <c:v>11.910689154244276</c:v>
                </c:pt>
                <c:pt idx="1350">
                  <c:v>11.733143937865361</c:v>
                </c:pt>
                <c:pt idx="1351">
                  <c:v>12.128966483463843</c:v>
                </c:pt>
                <c:pt idx="1352">
                  <c:v>12.581519131484637</c:v>
                </c:pt>
                <c:pt idx="1353">
                  <c:v>12.731638686984246</c:v>
                </c:pt>
                <c:pt idx="1354">
                  <c:v>12.552513349837533</c:v>
                </c:pt>
                <c:pt idx="1355">
                  <c:v>12.827054741184094</c:v>
                </c:pt>
                <c:pt idx="1356">
                  <c:v>13.145014182170453</c:v>
                </c:pt>
                <c:pt idx="1357">
                  <c:v>13.074147518417151</c:v>
                </c:pt>
                <c:pt idx="1358">
                  <c:v>12.757203320443699</c:v>
                </c:pt>
                <c:pt idx="1359">
                  <c:v>12.709491838610186</c:v>
                </c:pt>
                <c:pt idx="1360">
                  <c:v>12.730794094618368</c:v>
                </c:pt>
                <c:pt idx="1361">
                  <c:v>12.617107348733398</c:v>
                </c:pt>
                <c:pt idx="1362">
                  <c:v>12.659222487123555</c:v>
                </c:pt>
                <c:pt idx="1363">
                  <c:v>12.603890848310652</c:v>
                </c:pt>
                <c:pt idx="1364">
                  <c:v>12.162607954631463</c:v>
                </c:pt>
                <c:pt idx="1365">
                  <c:v>11.977308294374602</c:v>
                </c:pt>
                <c:pt idx="1366">
                  <c:v>12.376529991223546</c:v>
                </c:pt>
                <c:pt idx="1367">
                  <c:v>12.495590620144233</c:v>
                </c:pt>
                <c:pt idx="1368">
                  <c:v>12.662789446213649</c:v>
                </c:pt>
                <c:pt idx="1369">
                  <c:v>12.621112198149557</c:v>
                </c:pt>
                <c:pt idx="1370">
                  <c:v>12.685356895645169</c:v>
                </c:pt>
                <c:pt idx="1371">
                  <c:v>12.98559996502329</c:v>
                </c:pt>
                <c:pt idx="1372">
                  <c:v>12.973173312896565</c:v>
                </c:pt>
                <c:pt idx="1373">
                  <c:v>12.940060327924387</c:v>
                </c:pt>
                <c:pt idx="1374">
                  <c:v>13.025863437007539</c:v>
                </c:pt>
                <c:pt idx="1375">
                  <c:v>13.118320112752439</c:v>
                </c:pt>
                <c:pt idx="1376">
                  <c:v>13.102080603058134</c:v>
                </c:pt>
                <c:pt idx="1377">
                  <c:v>13.45578182478183</c:v>
                </c:pt>
                <c:pt idx="1378">
                  <c:v>13.136995286643378</c:v>
                </c:pt>
                <c:pt idx="1379">
                  <c:v>13.395714288171519</c:v>
                </c:pt>
                <c:pt idx="1380">
                  <c:v>13.269254624113966</c:v>
                </c:pt>
                <c:pt idx="1381">
                  <c:v>13.562123093221761</c:v>
                </c:pt>
                <c:pt idx="1382">
                  <c:v>13.462812181262764</c:v>
                </c:pt>
                <c:pt idx="1383">
                  <c:v>13.091243071660166</c:v>
                </c:pt>
                <c:pt idx="1384">
                  <c:v>12.814306520951618</c:v>
                </c:pt>
                <c:pt idx="1385">
                  <c:v>12.835937453983666</c:v>
                </c:pt>
                <c:pt idx="1386">
                  <c:v>12.596807924727324</c:v>
                </c:pt>
                <c:pt idx="1387">
                  <c:v>12.490512528547676</c:v>
                </c:pt>
                <c:pt idx="1388">
                  <c:v>12.46086346444619</c:v>
                </c:pt>
                <c:pt idx="1389">
                  <c:v>12.590660474446752</c:v>
                </c:pt>
                <c:pt idx="1390">
                  <c:v>12.340683656843311</c:v>
                </c:pt>
                <c:pt idx="1391">
                  <c:v>12.722683155162935</c:v>
                </c:pt>
                <c:pt idx="1392">
                  <c:v>12.722514122271505</c:v>
                </c:pt>
                <c:pt idx="1393">
                  <c:v>12.413832035534057</c:v>
                </c:pt>
                <c:pt idx="1394">
                  <c:v>12.470696835778364</c:v>
                </c:pt>
                <c:pt idx="1395">
                  <c:v>12.583997347715544</c:v>
                </c:pt>
                <c:pt idx="1396">
                  <c:v>12.802049567091965</c:v>
                </c:pt>
                <c:pt idx="1397">
                  <c:v>12.609093833889411</c:v>
                </c:pt>
                <c:pt idx="1398">
                  <c:v>12.477937519124817</c:v>
                </c:pt>
                <c:pt idx="1399">
                  <c:v>12.293892180519421</c:v>
                </c:pt>
                <c:pt idx="1400">
                  <c:v>12.09389786592387</c:v>
                </c:pt>
                <c:pt idx="1401">
                  <c:v>11.906355039330071</c:v>
                </c:pt>
                <c:pt idx="1402">
                  <c:v>11.419564423081258</c:v>
                </c:pt>
                <c:pt idx="1403">
                  <c:v>11.688796216430813</c:v>
                </c:pt>
                <c:pt idx="1404">
                  <c:v>11.688796216430813</c:v>
                </c:pt>
                <c:pt idx="1405">
                  <c:v>11.563011104658319</c:v>
                </c:pt>
                <c:pt idx="1406">
                  <c:v>10.955628984755412</c:v>
                </c:pt>
                <c:pt idx="1407">
                  <c:v>10.856245415249651</c:v>
                </c:pt>
                <c:pt idx="1408">
                  <c:v>10.856245415249651</c:v>
                </c:pt>
                <c:pt idx="1409">
                  <c:v>10.992079259703912</c:v>
                </c:pt>
                <c:pt idx="1410">
                  <c:v>11.447495852382852</c:v>
                </c:pt>
                <c:pt idx="1411">
                  <c:v>11.447495852382852</c:v>
                </c:pt>
                <c:pt idx="1412">
                  <c:v>11.460638575539313</c:v>
                </c:pt>
                <c:pt idx="1413">
                  <c:v>11.17543388780253</c:v>
                </c:pt>
                <c:pt idx="1414">
                  <c:v>11.141320938652855</c:v>
                </c:pt>
                <c:pt idx="1415">
                  <c:v>11.555197127057648</c:v>
                </c:pt>
                <c:pt idx="1416">
                  <c:v>11.566358336195984</c:v>
                </c:pt>
                <c:pt idx="1417">
                  <c:v>11.677752029955007</c:v>
                </c:pt>
                <c:pt idx="1418">
                  <c:v>11.399396324329627</c:v>
                </c:pt>
                <c:pt idx="1419">
                  <c:v>11.365671762973623</c:v>
                </c:pt>
                <c:pt idx="1420">
                  <c:v>11.341805814762699</c:v>
                </c:pt>
                <c:pt idx="1421">
                  <c:v>11.470391993001735</c:v>
                </c:pt>
                <c:pt idx="1422">
                  <c:v>11.168311546321533</c:v>
                </c:pt>
                <c:pt idx="1423">
                  <c:v>11.532842304172167</c:v>
                </c:pt>
                <c:pt idx="1424">
                  <c:v>11.752281864908536</c:v>
                </c:pt>
                <c:pt idx="1425">
                  <c:v>12.022022802260214</c:v>
                </c:pt>
                <c:pt idx="1426">
                  <c:v>11.896145576189475</c:v>
                </c:pt>
                <c:pt idx="1427">
                  <c:v>11.798122686458688</c:v>
                </c:pt>
                <c:pt idx="1428">
                  <c:v>11.539553298225226</c:v>
                </c:pt>
                <c:pt idx="1429">
                  <c:v>11.888369666751339</c:v>
                </c:pt>
                <c:pt idx="1430">
                  <c:v>11.669830600165502</c:v>
                </c:pt>
                <c:pt idx="1431">
                  <c:v>11.590504085079154</c:v>
                </c:pt>
                <c:pt idx="1432">
                  <c:v>11.850048772641339</c:v>
                </c:pt>
                <c:pt idx="1433">
                  <c:v>12.043558935296367</c:v>
                </c:pt>
                <c:pt idx="1434">
                  <c:v>11.983860113744921</c:v>
                </c:pt>
                <c:pt idx="1435">
                  <c:v>12.192453156707007</c:v>
                </c:pt>
                <c:pt idx="1436">
                  <c:v>12.515968295165637</c:v>
                </c:pt>
                <c:pt idx="1437">
                  <c:v>12.490942955356834</c:v>
                </c:pt>
                <c:pt idx="1438">
                  <c:v>12.55585370915062</c:v>
                </c:pt>
                <c:pt idx="1439">
                  <c:v>12.345997566579159</c:v>
                </c:pt>
                <c:pt idx="1440">
                  <c:v>12.479316220584096</c:v>
                </c:pt>
                <c:pt idx="1441">
                  <c:v>12.387992799134082</c:v>
                </c:pt>
                <c:pt idx="1442">
                  <c:v>12.441691963906324</c:v>
                </c:pt>
                <c:pt idx="1443">
                  <c:v>12.25008229070451</c:v>
                </c:pt>
                <c:pt idx="1444">
                  <c:v>12.733158812067543</c:v>
                </c:pt>
                <c:pt idx="1445">
                  <c:v>12.570831573591818</c:v>
                </c:pt>
                <c:pt idx="1446">
                  <c:v>12.244287674060967</c:v>
                </c:pt>
                <c:pt idx="1447">
                  <c:v>12.009673520313372</c:v>
                </c:pt>
                <c:pt idx="1448">
                  <c:v>12.343471566888331</c:v>
                </c:pt>
                <c:pt idx="1449">
                  <c:v>12.075301372048916</c:v>
                </c:pt>
                <c:pt idx="1450">
                  <c:v>12.197126402276821</c:v>
                </c:pt>
                <c:pt idx="1451">
                  <c:v>12.004121156135621</c:v>
                </c:pt>
                <c:pt idx="1452">
                  <c:v>12.35513910749658</c:v>
                </c:pt>
                <c:pt idx="1453">
                  <c:v>12.953182861233728</c:v>
                </c:pt>
                <c:pt idx="1454">
                  <c:v>12.778678478462238</c:v>
                </c:pt>
                <c:pt idx="1455">
                  <c:v>12.528762607421305</c:v>
                </c:pt>
                <c:pt idx="1456">
                  <c:v>12.144913533293796</c:v>
                </c:pt>
                <c:pt idx="1457">
                  <c:v>12.121606054204754</c:v>
                </c:pt>
                <c:pt idx="1458">
                  <c:v>12.205938973981443</c:v>
                </c:pt>
                <c:pt idx="1459">
                  <c:v>12.135259211447949</c:v>
                </c:pt>
                <c:pt idx="1460">
                  <c:v>11.728835892698365</c:v>
                </c:pt>
                <c:pt idx="1461">
                  <c:v>11.71140423891652</c:v>
                </c:pt>
                <c:pt idx="1462">
                  <c:v>11.875428684961774</c:v>
                </c:pt>
                <c:pt idx="1463">
                  <c:v>11.7699270514179</c:v>
                </c:pt>
                <c:pt idx="1464">
                  <c:v>11.510537481728628</c:v>
                </c:pt>
                <c:pt idx="1465">
                  <c:v>11.461107679771265</c:v>
                </c:pt>
                <c:pt idx="1466">
                  <c:v>11.074624681132855</c:v>
                </c:pt>
                <c:pt idx="1467">
                  <c:v>10.575992289294929</c:v>
                </c:pt>
                <c:pt idx="1468">
                  <c:v>10.403473365396584</c:v>
                </c:pt>
                <c:pt idx="1469">
                  <c:v>10.392097907772579</c:v>
                </c:pt>
                <c:pt idx="1470">
                  <c:v>10.638740324818759</c:v>
                </c:pt>
                <c:pt idx="1471">
                  <c:v>10.638740324818759</c:v>
                </c:pt>
                <c:pt idx="1472">
                  <c:v>10.331078491411189</c:v>
                </c:pt>
                <c:pt idx="1473">
                  <c:v>10.458520218524718</c:v>
                </c:pt>
                <c:pt idx="1474">
                  <c:v>10.473314784758699</c:v>
                </c:pt>
                <c:pt idx="1475">
                  <c:v>10.04313278459626</c:v>
                </c:pt>
                <c:pt idx="1476">
                  <c:v>10.446484205610254</c:v>
                </c:pt>
                <c:pt idx="1477">
                  <c:v>10.258906437351037</c:v>
                </c:pt>
                <c:pt idx="1478">
                  <c:v>10.181260458122514</c:v>
                </c:pt>
                <c:pt idx="1479">
                  <c:v>10.229937091850848</c:v>
                </c:pt>
                <c:pt idx="1480">
                  <c:v>10.319414837123526</c:v>
                </c:pt>
                <c:pt idx="1481">
                  <c:v>10.421441916208295</c:v>
                </c:pt>
                <c:pt idx="1482">
                  <c:v>10.366613075960087</c:v>
                </c:pt>
                <c:pt idx="1483">
                  <c:v>10.259011250016103</c:v>
                </c:pt>
                <c:pt idx="1484">
                  <c:v>9.723488908778565</c:v>
                </c:pt>
                <c:pt idx="1485">
                  <c:v>9.9982794218730202</c:v>
                </c:pt>
                <c:pt idx="1486">
                  <c:v>10.062599762412029</c:v>
                </c:pt>
                <c:pt idx="1487">
                  <c:v>9.9715724970796931</c:v>
                </c:pt>
                <c:pt idx="1488">
                  <c:v>10.624176122390379</c:v>
                </c:pt>
                <c:pt idx="1489">
                  <c:v>10.577313926156918</c:v>
                </c:pt>
                <c:pt idx="1490">
                  <c:v>10.543101500379848</c:v>
                </c:pt>
                <c:pt idx="1491">
                  <c:v>10.960044737370433</c:v>
                </c:pt>
                <c:pt idx="1492">
                  <c:v>11.431986816850568</c:v>
                </c:pt>
                <c:pt idx="1493">
                  <c:v>11.569239898453009</c:v>
                </c:pt>
                <c:pt idx="1494">
                  <c:v>11.375223027472087</c:v>
                </c:pt>
                <c:pt idx="1495">
                  <c:v>11.375223027472087</c:v>
                </c:pt>
                <c:pt idx="1496">
                  <c:v>11.188896185480601</c:v>
                </c:pt>
                <c:pt idx="1497">
                  <c:v>11.268759747042225</c:v>
                </c:pt>
                <c:pt idx="1498">
                  <c:v>11.369455401602673</c:v>
                </c:pt>
                <c:pt idx="1499">
                  <c:v>11.681434585636076</c:v>
                </c:pt>
                <c:pt idx="1500">
                  <c:v>11.749445193948155</c:v>
                </c:pt>
                <c:pt idx="1501">
                  <c:v>11.28878023259311</c:v>
                </c:pt>
                <c:pt idx="1502">
                  <c:v>11.144408887974523</c:v>
                </c:pt>
                <c:pt idx="1503">
                  <c:v>11.116876640340989</c:v>
                </c:pt>
                <c:pt idx="1504">
                  <c:v>11.36529332983176</c:v>
                </c:pt>
                <c:pt idx="1505">
                  <c:v>11.487253337822398</c:v>
                </c:pt>
                <c:pt idx="1506">
                  <c:v>11.080545772824367</c:v>
                </c:pt>
                <c:pt idx="1507">
                  <c:v>10.407400179421547</c:v>
                </c:pt>
                <c:pt idx="1508">
                  <c:v>10.435258677000487</c:v>
                </c:pt>
                <c:pt idx="1509">
                  <c:v>10.494442973942606</c:v>
                </c:pt>
                <c:pt idx="1510">
                  <c:v>10.705440281132915</c:v>
                </c:pt>
                <c:pt idx="1511">
                  <c:v>10.473930771513226</c:v>
                </c:pt>
                <c:pt idx="1512">
                  <c:v>10.509289285690189</c:v>
                </c:pt>
                <c:pt idx="1513">
                  <c:v>11.244209979563534</c:v>
                </c:pt>
                <c:pt idx="1514">
                  <c:v>11.194372626218215</c:v>
                </c:pt>
                <c:pt idx="1515">
                  <c:v>11.31570418888381</c:v>
                </c:pt>
                <c:pt idx="1516">
                  <c:v>10.859513444812551</c:v>
                </c:pt>
                <c:pt idx="1517">
                  <c:v>10.5948861675445</c:v>
                </c:pt>
                <c:pt idx="1518">
                  <c:v>10.498847863056827</c:v>
                </c:pt>
                <c:pt idx="1519">
                  <c:v>10.379363313599677</c:v>
                </c:pt>
                <c:pt idx="1520">
                  <c:v>10.43309457282888</c:v>
                </c:pt>
                <c:pt idx="1521">
                  <c:v>10.546874377737936</c:v>
                </c:pt>
                <c:pt idx="1522">
                  <c:v>10.293018826327861</c:v>
                </c:pt>
                <c:pt idx="1523">
                  <c:v>9.8951492406443098</c:v>
                </c:pt>
                <c:pt idx="1524">
                  <c:v>9.4645916247694455</c:v>
                </c:pt>
                <c:pt idx="1525">
                  <c:v>9.8257944492615845</c:v>
                </c:pt>
                <c:pt idx="1526">
                  <c:v>9.9189186021742888</c:v>
                </c:pt>
                <c:pt idx="1527">
                  <c:v>9.9459831412063693</c:v>
                </c:pt>
                <c:pt idx="1528">
                  <c:v>9.9929007058075481</c:v>
                </c:pt>
                <c:pt idx="1529">
                  <c:v>10.04441748339072</c:v>
                </c:pt>
                <c:pt idx="1530">
                  <c:v>10.003117793538065</c:v>
                </c:pt>
                <c:pt idx="1531">
                  <c:v>10.076695140086187</c:v>
                </c:pt>
                <c:pt idx="1532">
                  <c:v>10.371175937307237</c:v>
                </c:pt>
                <c:pt idx="1533">
                  <c:v>10.130439598142468</c:v>
                </c:pt>
                <c:pt idx="1534">
                  <c:v>10.297196611919</c:v>
                </c:pt>
                <c:pt idx="1535">
                  <c:v>10.297196611919</c:v>
                </c:pt>
                <c:pt idx="1536">
                  <c:v>10.251776662178258</c:v>
                </c:pt>
                <c:pt idx="1537">
                  <c:v>10.226573018314824</c:v>
                </c:pt>
                <c:pt idx="1538">
                  <c:v>10.375218614097854</c:v>
                </c:pt>
                <c:pt idx="1539">
                  <c:v>10.277755497408767</c:v>
                </c:pt>
                <c:pt idx="1540">
                  <c:v>10.467050195014174</c:v>
                </c:pt>
                <c:pt idx="1541">
                  <c:v>10.223207837788671</c:v>
                </c:pt>
                <c:pt idx="1542">
                  <c:v>10.207734786051486</c:v>
                </c:pt>
                <c:pt idx="1543">
                  <c:v>10.207734786051486</c:v>
                </c:pt>
                <c:pt idx="1544">
                  <c:v>9.5629212255247307</c:v>
                </c:pt>
                <c:pt idx="1545">
                  <c:v>10.206892042208066</c:v>
                </c:pt>
                <c:pt idx="1546">
                  <c:v>10.235296298719478</c:v>
                </c:pt>
                <c:pt idx="1547">
                  <c:v>10.237817307698279</c:v>
                </c:pt>
                <c:pt idx="1548">
                  <c:v>10.336905383296578</c:v>
                </c:pt>
                <c:pt idx="1549">
                  <c:v>10.462529145910764</c:v>
                </c:pt>
                <c:pt idx="1550">
                  <c:v>10.533816512669121</c:v>
                </c:pt>
                <c:pt idx="1551">
                  <c:v>10.443395814055513</c:v>
                </c:pt>
                <c:pt idx="1552">
                  <c:v>10.533816512669123</c:v>
                </c:pt>
                <c:pt idx="1553">
                  <c:v>10.557675697284521</c:v>
                </c:pt>
                <c:pt idx="1554">
                  <c:v>10.588795051617597</c:v>
                </c:pt>
                <c:pt idx="1555">
                  <c:v>10.588795051617597</c:v>
                </c:pt>
                <c:pt idx="1556">
                  <c:v>10.492598517808348</c:v>
                </c:pt>
                <c:pt idx="1557">
                  <c:v>10.338985620258594</c:v>
                </c:pt>
                <c:pt idx="1558">
                  <c:v>10.676675411824711</c:v>
                </c:pt>
                <c:pt idx="1559">
                  <c:v>10.369309554891364</c:v>
                </c:pt>
                <c:pt idx="1560">
                  <c:v>10.44730762249967</c:v>
                </c:pt>
                <c:pt idx="1561">
                  <c:v>9.9884879973456595</c:v>
                </c:pt>
                <c:pt idx="1562">
                  <c:v>9.7045605064658087</c:v>
                </c:pt>
                <c:pt idx="1563">
                  <c:v>8.9434303394480104</c:v>
                </c:pt>
                <c:pt idx="1564">
                  <c:v>8.9803848374085273</c:v>
                </c:pt>
                <c:pt idx="1565">
                  <c:v>9.8418679929878099</c:v>
                </c:pt>
                <c:pt idx="1566">
                  <c:v>9.1752354867087274</c:v>
                </c:pt>
                <c:pt idx="1567">
                  <c:v>8.9425886896982067</c:v>
                </c:pt>
                <c:pt idx="1568">
                  <c:v>8.9793071553014201</c:v>
                </c:pt>
                <c:pt idx="1569">
                  <c:v>9.1754698687221445</c:v>
                </c:pt>
                <c:pt idx="1570">
                  <c:v>9.2750097817529493</c:v>
                </c:pt>
                <c:pt idx="1571">
                  <c:v>9.334408540218222</c:v>
                </c:pt>
                <c:pt idx="1572">
                  <c:v>9.211493521857669</c:v>
                </c:pt>
                <c:pt idx="1573">
                  <c:v>10.139351636712439</c:v>
                </c:pt>
                <c:pt idx="1574">
                  <c:v>10.194558953582275</c:v>
                </c:pt>
                <c:pt idx="1575">
                  <c:v>10.620329460495205</c:v>
                </c:pt>
                <c:pt idx="1576">
                  <c:v>10.380709984627556</c:v>
                </c:pt>
                <c:pt idx="1577">
                  <c:v>10.456566594548928</c:v>
                </c:pt>
                <c:pt idx="1578">
                  <c:v>10.962595250380081</c:v>
                </c:pt>
                <c:pt idx="1579">
                  <c:v>10.892929540692652</c:v>
                </c:pt>
                <c:pt idx="1580">
                  <c:v>11.044387471637164</c:v>
                </c:pt>
                <c:pt idx="1581">
                  <c:v>10.938734569340946</c:v>
                </c:pt>
                <c:pt idx="1582">
                  <c:v>11.329474358826708</c:v>
                </c:pt>
                <c:pt idx="1583">
                  <c:v>10.964850978889194</c:v>
                </c:pt>
                <c:pt idx="1584">
                  <c:v>11.132148542972093</c:v>
                </c:pt>
                <c:pt idx="1585">
                  <c:v>11.122581892572843</c:v>
                </c:pt>
                <c:pt idx="1586">
                  <c:v>11.307624224009119</c:v>
                </c:pt>
                <c:pt idx="1587">
                  <c:v>11.390054140930733</c:v>
                </c:pt>
                <c:pt idx="1588">
                  <c:v>11.559662903891832</c:v>
                </c:pt>
                <c:pt idx="1589">
                  <c:v>11.918721155329317</c:v>
                </c:pt>
                <c:pt idx="1590">
                  <c:v>11.713148571684966</c:v>
                </c:pt>
                <c:pt idx="1591">
                  <c:v>11.791376473498966</c:v>
                </c:pt>
                <c:pt idx="1592">
                  <c:v>12.010926924738069</c:v>
                </c:pt>
                <c:pt idx="1593">
                  <c:v>12.279189493759592</c:v>
                </c:pt>
                <c:pt idx="1594">
                  <c:v>12.275773851611719</c:v>
                </c:pt>
                <c:pt idx="1595">
                  <c:v>12.334147023434532</c:v>
                </c:pt>
                <c:pt idx="1596">
                  <c:v>11.917548279291648</c:v>
                </c:pt>
                <c:pt idx="1597">
                  <c:v>12.257541018816012</c:v>
                </c:pt>
                <c:pt idx="1598">
                  <c:v>12.706868856214431</c:v>
                </c:pt>
                <c:pt idx="1599">
                  <c:v>12.533910991034793</c:v>
                </c:pt>
                <c:pt idx="1600">
                  <c:v>12.24850221258146</c:v>
                </c:pt>
                <c:pt idx="1601">
                  <c:v>12.037128940003909</c:v>
                </c:pt>
                <c:pt idx="1602">
                  <c:v>11.98520593441442</c:v>
                </c:pt>
                <c:pt idx="1603">
                  <c:v>12.257891905972032</c:v>
                </c:pt>
                <c:pt idx="1604">
                  <c:v>12.4562891659172</c:v>
                </c:pt>
                <c:pt idx="1605">
                  <c:v>12.47423150390048</c:v>
                </c:pt>
                <c:pt idx="1606">
                  <c:v>12.378701792373711</c:v>
                </c:pt>
                <c:pt idx="1607">
                  <c:v>12.336936410632909</c:v>
                </c:pt>
                <c:pt idx="1608">
                  <c:v>12.478885392740864</c:v>
                </c:pt>
                <c:pt idx="1609">
                  <c:v>12.292930042600016</c:v>
                </c:pt>
                <c:pt idx="1610">
                  <c:v>12.507975949992526</c:v>
                </c:pt>
                <c:pt idx="1611">
                  <c:v>12.140485898408777</c:v>
                </c:pt>
                <c:pt idx="1612">
                  <c:v>12.167911263488447</c:v>
                </c:pt>
                <c:pt idx="1613">
                  <c:v>11.841152951710674</c:v>
                </c:pt>
                <c:pt idx="1614">
                  <c:v>12.016565626765644</c:v>
                </c:pt>
                <c:pt idx="1615">
                  <c:v>11.940263500991856</c:v>
                </c:pt>
                <c:pt idx="1616">
                  <c:v>11.871172275002822</c:v>
                </c:pt>
                <c:pt idx="1617">
                  <c:v>11.953763972836322</c:v>
                </c:pt>
                <c:pt idx="1618">
                  <c:v>11.902922745799581</c:v>
                </c:pt>
                <c:pt idx="1619">
                  <c:v>11.98843528760786</c:v>
                </c:pt>
                <c:pt idx="1620">
                  <c:v>11.767734271833005</c:v>
                </c:pt>
                <c:pt idx="1621">
                  <c:v>11.656185768366369</c:v>
                </c:pt>
                <c:pt idx="1622">
                  <c:v>12.245692681400747</c:v>
                </c:pt>
                <c:pt idx="1623">
                  <c:v>12.20038779570516</c:v>
                </c:pt>
                <c:pt idx="1624">
                  <c:v>12.032482917556555</c:v>
                </c:pt>
                <c:pt idx="1625">
                  <c:v>12.460518292953639</c:v>
                </c:pt>
                <c:pt idx="1626">
                  <c:v>12.224248773013258</c:v>
                </c:pt>
                <c:pt idx="1627">
                  <c:v>12.091585984183514</c:v>
                </c:pt>
                <c:pt idx="1628">
                  <c:v>12.156506289279427</c:v>
                </c:pt>
                <c:pt idx="1629">
                  <c:v>11.915472908099618</c:v>
                </c:pt>
                <c:pt idx="1630">
                  <c:v>11.782710132415046</c:v>
                </c:pt>
                <c:pt idx="1631">
                  <c:v>12.352789071681842</c:v>
                </c:pt>
                <c:pt idx="1632">
                  <c:v>12.348871351500669</c:v>
                </c:pt>
                <c:pt idx="1633">
                  <c:v>12.48982381479944</c:v>
                </c:pt>
                <c:pt idx="1634">
                  <c:v>12.136411047681255</c:v>
                </c:pt>
                <c:pt idx="1635">
                  <c:v>12.076280848828624</c:v>
                </c:pt>
                <c:pt idx="1636">
                  <c:v>11.914750955122001</c:v>
                </c:pt>
                <c:pt idx="1637">
                  <c:v>12.422923659834048</c:v>
                </c:pt>
                <c:pt idx="1638">
                  <c:v>12.225568131135347</c:v>
                </c:pt>
                <c:pt idx="1639">
                  <c:v>12.473628094883315</c:v>
                </c:pt>
                <c:pt idx="1640">
                  <c:v>12.578698498413042</c:v>
                </c:pt>
                <c:pt idx="1641">
                  <c:v>12.382089041525186</c:v>
                </c:pt>
                <c:pt idx="1642">
                  <c:v>12.810278131502516</c:v>
                </c:pt>
                <c:pt idx="1643">
                  <c:v>12.783810326018333</c:v>
                </c:pt>
                <c:pt idx="1644">
                  <c:v>12.996773793224918</c:v>
                </c:pt>
                <c:pt idx="1645">
                  <c:v>13.375149481628757</c:v>
                </c:pt>
                <c:pt idx="1646">
                  <c:v>13.289012358424744</c:v>
                </c:pt>
                <c:pt idx="1647">
                  <c:v>13.48427997527539</c:v>
                </c:pt>
                <c:pt idx="1648">
                  <c:v>13.329004673695552</c:v>
                </c:pt>
                <c:pt idx="1649">
                  <c:v>13.345934905229518</c:v>
                </c:pt>
                <c:pt idx="1650">
                  <c:v>13.564105065818355</c:v>
                </c:pt>
                <c:pt idx="1651">
                  <c:v>13.680847612551256</c:v>
                </c:pt>
                <c:pt idx="1652">
                  <c:v>14.134986716030745</c:v>
                </c:pt>
                <c:pt idx="1653">
                  <c:v>13.676602734801921</c:v>
                </c:pt>
                <c:pt idx="1654">
                  <c:v>13.885708596460121</c:v>
                </c:pt>
                <c:pt idx="1655">
                  <c:v>14.120297294990808</c:v>
                </c:pt>
                <c:pt idx="1656">
                  <c:v>13.808443731267108</c:v>
                </c:pt>
                <c:pt idx="1657">
                  <c:v>13.808443731267108</c:v>
                </c:pt>
                <c:pt idx="1658">
                  <c:v>13.875560629960107</c:v>
                </c:pt>
                <c:pt idx="1659">
                  <c:v>13.583592252958113</c:v>
                </c:pt>
                <c:pt idx="1660">
                  <c:v>13.94451370129455</c:v>
                </c:pt>
                <c:pt idx="1661">
                  <c:v>14.254144841458935</c:v>
                </c:pt>
                <c:pt idx="1662">
                  <c:v>14.000460821908916</c:v>
                </c:pt>
                <c:pt idx="1663">
                  <c:v>13.964471046656341</c:v>
                </c:pt>
                <c:pt idx="1664">
                  <c:v>14.014278433083881</c:v>
                </c:pt>
                <c:pt idx="1665">
                  <c:v>14.01542928577345</c:v>
                </c:pt>
                <c:pt idx="1666">
                  <c:v>13.563550142684559</c:v>
                </c:pt>
                <c:pt idx="1667">
                  <c:v>14.050752859330295</c:v>
                </c:pt>
                <c:pt idx="1668">
                  <c:v>13.986629560105355</c:v>
                </c:pt>
                <c:pt idx="1669">
                  <c:v>13.968320532355479</c:v>
                </c:pt>
                <c:pt idx="1670">
                  <c:v>13.904667739512389</c:v>
                </c:pt>
                <c:pt idx="1671">
                  <c:v>13.860518695006464</c:v>
                </c:pt>
                <c:pt idx="1672">
                  <c:v>13.897706161778633</c:v>
                </c:pt>
                <c:pt idx="1673">
                  <c:v>13.463451122540324</c:v>
                </c:pt>
                <c:pt idx="1674">
                  <c:v>13.759844960366863</c:v>
                </c:pt>
                <c:pt idx="1675">
                  <c:v>13.250278958313229</c:v>
                </c:pt>
                <c:pt idx="1676">
                  <c:v>12.908278580584575</c:v>
                </c:pt>
                <c:pt idx="1677">
                  <c:v>12.617107348733398</c:v>
                </c:pt>
                <c:pt idx="1678">
                  <c:v>12.412619315824116</c:v>
                </c:pt>
                <c:pt idx="1679">
                  <c:v>12.408980445585557</c:v>
                </c:pt>
                <c:pt idx="1680">
                  <c:v>12.58792731066138</c:v>
                </c:pt>
                <c:pt idx="1681">
                  <c:v>12.542829849964534</c:v>
                </c:pt>
                <c:pt idx="1682">
                  <c:v>12.437456435326524</c:v>
                </c:pt>
                <c:pt idx="1683">
                  <c:v>11.879049960202593</c:v>
                </c:pt>
                <c:pt idx="1684">
                  <c:v>12.151109511710912</c:v>
                </c:pt>
                <c:pt idx="1685">
                  <c:v>12.039987139635183</c:v>
                </c:pt>
                <c:pt idx="1686">
                  <c:v>11.885203595905669</c:v>
                </c:pt>
                <c:pt idx="1687">
                  <c:v>11.7681911346071</c:v>
                </c:pt>
                <c:pt idx="1688">
                  <c:v>12.028818442319244</c:v>
                </c:pt>
                <c:pt idx="1689">
                  <c:v>12.15845208031217</c:v>
                </c:pt>
                <c:pt idx="1690">
                  <c:v>12.541115177386464</c:v>
                </c:pt>
                <c:pt idx="1691">
                  <c:v>12.472334977258518</c:v>
                </c:pt>
                <c:pt idx="1692">
                  <c:v>12.092386300958669</c:v>
                </c:pt>
                <c:pt idx="1693">
                  <c:v>12.441086976678941</c:v>
                </c:pt>
                <c:pt idx="1694">
                  <c:v>12.677471339738554</c:v>
                </c:pt>
                <c:pt idx="1695">
                  <c:v>12.201357231044828</c:v>
                </c:pt>
                <c:pt idx="1696">
                  <c:v>12.337197883348683</c:v>
                </c:pt>
                <c:pt idx="1697">
                  <c:v>12.805912612909022</c:v>
                </c:pt>
                <c:pt idx="1698">
                  <c:v>12.751133198640128</c:v>
                </c:pt>
                <c:pt idx="1699">
                  <c:v>13.452345200664809</c:v>
                </c:pt>
                <c:pt idx="1700">
                  <c:v>14.585601974078291</c:v>
                </c:pt>
                <c:pt idx="1701">
                  <c:v>14.771812739569345</c:v>
                </c:pt>
                <c:pt idx="1702">
                  <c:v>15.825051597530926</c:v>
                </c:pt>
                <c:pt idx="1703">
                  <c:v>15.953022432479145</c:v>
                </c:pt>
                <c:pt idx="1704">
                  <c:v>16.772417192957718</c:v>
                </c:pt>
                <c:pt idx="1705">
                  <c:v>17.157587117625972</c:v>
                </c:pt>
                <c:pt idx="1706">
                  <c:v>17.349227617526125</c:v>
                </c:pt>
                <c:pt idx="1707">
                  <c:v>18.113916707731203</c:v>
                </c:pt>
                <c:pt idx="1708">
                  <c:v>18.12768333863449</c:v>
                </c:pt>
                <c:pt idx="1709">
                  <c:v>18.287489113175599</c:v>
                </c:pt>
                <c:pt idx="1710">
                  <c:v>18.471774457612437</c:v>
                </c:pt>
                <c:pt idx="1711">
                  <c:v>18.144876939229569</c:v>
                </c:pt>
                <c:pt idx="1712">
                  <c:v>18.221752332432686</c:v>
                </c:pt>
                <c:pt idx="1713">
                  <c:v>18.560682226986774</c:v>
                </c:pt>
                <c:pt idx="1714">
                  <c:v>18.284725395687488</c:v>
                </c:pt>
                <c:pt idx="1715">
                  <c:v>17.685848786864263</c:v>
                </c:pt>
                <c:pt idx="1716">
                  <c:v>17.768342029987597</c:v>
                </c:pt>
                <c:pt idx="1717">
                  <c:v>17.654814445875086</c:v>
                </c:pt>
                <c:pt idx="1718">
                  <c:v>17.764892283643668</c:v>
                </c:pt>
                <c:pt idx="1719">
                  <c:v>16.49059686446299</c:v>
                </c:pt>
                <c:pt idx="1720">
                  <c:v>14.899375753683854</c:v>
                </c:pt>
                <c:pt idx="1721">
                  <c:v>14.834571653035095</c:v>
                </c:pt>
                <c:pt idx="1722">
                  <c:v>15.021847888275753</c:v>
                </c:pt>
                <c:pt idx="1723">
                  <c:v>14.127681970141539</c:v>
                </c:pt>
                <c:pt idx="1724">
                  <c:v>14.105973721216696</c:v>
                </c:pt>
                <c:pt idx="1725">
                  <c:v>12.170208646306097</c:v>
                </c:pt>
                <c:pt idx="1726">
                  <c:v>11.232154304610519</c:v>
                </c:pt>
                <c:pt idx="1727">
                  <c:v>10.816952048192837</c:v>
                </c:pt>
                <c:pt idx="1728">
                  <c:v>6.3633696355216989</c:v>
                </c:pt>
                <c:pt idx="1729">
                  <c:v>6.1703418284216562</c:v>
                </c:pt>
                <c:pt idx="1730">
                  <c:v>6.2911441426544892</c:v>
                </c:pt>
                <c:pt idx="1731">
                  <c:v>6.2654540121602222</c:v>
                </c:pt>
                <c:pt idx="1732">
                  <c:v>6.3847937631414116</c:v>
                </c:pt>
                <c:pt idx="1733">
                  <c:v>6.3197931094488027</c:v>
                </c:pt>
                <c:pt idx="1734">
                  <c:v>6.1720842230087882</c:v>
                </c:pt>
                <c:pt idx="1735">
                  <c:v>6.131533162654442</c:v>
                </c:pt>
                <c:pt idx="1736">
                  <c:v>5.8757749431709589</c:v>
                </c:pt>
                <c:pt idx="1737">
                  <c:v>5.8239402100204014</c:v>
                </c:pt>
                <c:pt idx="1738">
                  <c:v>5.7233721919260008</c:v>
                </c:pt>
                <c:pt idx="1739">
                  <c:v>5.6727987062199148</c:v>
                </c:pt>
                <c:pt idx="1740">
                  <c:v>5.6064479008117196</c:v>
                </c:pt>
                <c:pt idx="1741">
                  <c:v>5.5579063126905233</c:v>
                </c:pt>
                <c:pt idx="1742">
                  <c:v>5.5579063126905233</c:v>
                </c:pt>
                <c:pt idx="1743">
                  <c:v>9.9256374893450783</c:v>
                </c:pt>
                <c:pt idx="1744">
                  <c:v>12.263592415142114</c:v>
                </c:pt>
                <c:pt idx="1745">
                  <c:v>12.464745985102075</c:v>
                </c:pt>
                <c:pt idx="1746">
                  <c:v>14.410047271455824</c:v>
                </c:pt>
                <c:pt idx="1747">
                  <c:v>14.57025988506312</c:v>
                </c:pt>
                <c:pt idx="1748">
                  <c:v>16.268579122549905</c:v>
                </c:pt>
                <c:pt idx="1749">
                  <c:v>15.923878060105782</c:v>
                </c:pt>
                <c:pt idx="1750">
                  <c:v>16.476115002979245</c:v>
                </c:pt>
                <c:pt idx="1751">
                  <c:v>16.749514517117795</c:v>
                </c:pt>
                <c:pt idx="1752">
                  <c:v>17.161722850075272</c:v>
                </c:pt>
                <c:pt idx="1753">
                  <c:v>17.758354084344255</c:v>
                </c:pt>
                <c:pt idx="1754">
                  <c:v>18.065710405990636</c:v>
                </c:pt>
                <c:pt idx="1755">
                  <c:v>18.237501243671055</c:v>
                </c:pt>
                <c:pt idx="1756">
                  <c:v>18.985563275900606</c:v>
                </c:pt>
                <c:pt idx="1757">
                  <c:v>18.648474237798908</c:v>
                </c:pt>
                <c:pt idx="1758">
                  <c:v>19.034151536939667</c:v>
                </c:pt>
                <c:pt idx="1759">
                  <c:v>18.819402022198215</c:v>
                </c:pt>
                <c:pt idx="1760">
                  <c:v>18.661385581675251</c:v>
                </c:pt>
                <c:pt idx="1761">
                  <c:v>19.075007574795212</c:v>
                </c:pt>
                <c:pt idx="1762">
                  <c:v>18.677972766514749</c:v>
                </c:pt>
                <c:pt idx="1763">
                  <c:v>17.899900882767572</c:v>
                </c:pt>
                <c:pt idx="1764">
                  <c:v>17.472559130838427</c:v>
                </c:pt>
                <c:pt idx="1765">
                  <c:v>16.90911823750406</c:v>
                </c:pt>
                <c:pt idx="1766">
                  <c:v>16.487205857550492</c:v>
                </c:pt>
                <c:pt idx="1767">
                  <c:v>16.117645442919262</c:v>
                </c:pt>
                <c:pt idx="1768">
                  <c:v>15.996841086013914</c:v>
                </c:pt>
                <c:pt idx="1769">
                  <c:v>15.604865521913007</c:v>
                </c:pt>
                <c:pt idx="1770">
                  <c:v>14.983144651771669</c:v>
                </c:pt>
                <c:pt idx="1771">
                  <c:v>14.534349377524848</c:v>
                </c:pt>
                <c:pt idx="1772">
                  <c:v>13.723067464862268</c:v>
                </c:pt>
                <c:pt idx="1773">
                  <c:v>12.327955816908815</c:v>
                </c:pt>
                <c:pt idx="1774">
                  <c:v>12.028818442319244</c:v>
                </c:pt>
                <c:pt idx="1775">
                  <c:v>11.803043165090489</c:v>
                </c:pt>
                <c:pt idx="1776">
                  <c:v>12.186719371194943</c:v>
                </c:pt>
                <c:pt idx="1777">
                  <c:v>12.147657856469676</c:v>
                </c:pt>
                <c:pt idx="1778">
                  <c:v>12.207876886032073</c:v>
                </c:pt>
                <c:pt idx="1779">
                  <c:v>12.311197805162967</c:v>
                </c:pt>
                <c:pt idx="1780">
                  <c:v>11.895874409096175</c:v>
                </c:pt>
                <c:pt idx="1781">
                  <c:v>11.915743629189036</c:v>
                </c:pt>
                <c:pt idx="1782">
                  <c:v>12.033555235793918</c:v>
                </c:pt>
                <c:pt idx="1783">
                  <c:v>12.215801506721238</c:v>
                </c:pt>
                <c:pt idx="1784">
                  <c:v>12.368534479124449</c:v>
                </c:pt>
                <c:pt idx="1785">
                  <c:v>12.370794604219446</c:v>
                </c:pt>
                <c:pt idx="1786">
                  <c:v>12.836272530338327</c:v>
                </c:pt>
                <c:pt idx="1787">
                  <c:v>12.40811389061934</c:v>
                </c:pt>
                <c:pt idx="1788">
                  <c:v>12.557651996130247</c:v>
                </c:pt>
                <c:pt idx="1789">
                  <c:v>12.545315708923358</c:v>
                </c:pt>
                <c:pt idx="1790">
                  <c:v>13.096991364267556</c:v>
                </c:pt>
                <c:pt idx="1791">
                  <c:v>13.395232661828466</c:v>
                </c:pt>
                <c:pt idx="1792">
                  <c:v>13.148122233975842</c:v>
                </c:pt>
                <c:pt idx="1793">
                  <c:v>12.977399709718679</c:v>
                </c:pt>
                <c:pt idx="1794">
                  <c:v>12.8296531519757</c:v>
                </c:pt>
                <c:pt idx="1795">
                  <c:v>13.139696073472393</c:v>
                </c:pt>
                <c:pt idx="1796">
                  <c:v>13.275006834333945</c:v>
                </c:pt>
                <c:pt idx="1797">
                  <c:v>13.291520459640134</c:v>
                </c:pt>
                <c:pt idx="1798">
                  <c:v>13.23477010699265</c:v>
                </c:pt>
                <c:pt idx="1799">
                  <c:v>13.119221718327033</c:v>
                </c:pt>
                <c:pt idx="1800">
                  <c:v>13.145586773244592</c:v>
                </c:pt>
                <c:pt idx="1801">
                  <c:v>13.08532790768397</c:v>
                </c:pt>
                <c:pt idx="1802">
                  <c:v>12.834429502130639</c:v>
                </c:pt>
                <c:pt idx="1803">
                  <c:v>12.994291550647377</c:v>
                </c:pt>
                <c:pt idx="1804">
                  <c:v>12.975245248060316</c:v>
                </c:pt>
                <c:pt idx="1805">
                  <c:v>12.956170946363663</c:v>
                </c:pt>
                <c:pt idx="1806">
                  <c:v>12.910860644459191</c:v>
                </c:pt>
                <c:pt idx="1807">
                  <c:v>12.409586998057815</c:v>
                </c:pt>
                <c:pt idx="1808">
                  <c:v>12.263680094586844</c:v>
                </c:pt>
                <c:pt idx="1809">
                  <c:v>11.99560851544906</c:v>
                </c:pt>
                <c:pt idx="1810">
                  <c:v>11.947375651005396</c:v>
                </c:pt>
                <c:pt idx="1811">
                  <c:v>12.209109942637008</c:v>
                </c:pt>
                <c:pt idx="1812">
                  <c:v>12.174713791871184</c:v>
                </c:pt>
                <c:pt idx="1813">
                  <c:v>12.325338879504438</c:v>
                </c:pt>
                <c:pt idx="1814">
                  <c:v>12.504794779328378</c:v>
                </c:pt>
                <c:pt idx="1815">
                  <c:v>12.510984421011631</c:v>
                </c:pt>
                <c:pt idx="1816">
                  <c:v>12.421452134041319</c:v>
                </c:pt>
                <c:pt idx="1817">
                  <c:v>11.96104789166345</c:v>
                </c:pt>
                <c:pt idx="1818">
                  <c:v>12.22231345681165</c:v>
                </c:pt>
                <c:pt idx="1819">
                  <c:v>12.067551800245687</c:v>
                </c:pt>
                <c:pt idx="1820">
                  <c:v>12.015760259910977</c:v>
                </c:pt>
                <c:pt idx="1821">
                  <c:v>11.77440270840882</c:v>
                </c:pt>
                <c:pt idx="1822">
                  <c:v>12.082690008829259</c:v>
                </c:pt>
                <c:pt idx="1823">
                  <c:v>12.093364393980339</c:v>
                </c:pt>
                <c:pt idx="1824">
                  <c:v>12.462934292645361</c:v>
                </c:pt>
                <c:pt idx="1825">
                  <c:v>12.685950233755978</c:v>
                </c:pt>
                <c:pt idx="1826">
                  <c:v>12.44981323001938</c:v>
                </c:pt>
                <c:pt idx="1827">
                  <c:v>11.946295597155782</c:v>
                </c:pt>
                <c:pt idx="1828">
                  <c:v>12.347391000374493</c:v>
                </c:pt>
                <c:pt idx="1829">
                  <c:v>12.323332184479661</c:v>
                </c:pt>
                <c:pt idx="1830">
                  <c:v>12.314952883228138</c:v>
                </c:pt>
                <c:pt idx="1831">
                  <c:v>12.326124019063467</c:v>
                </c:pt>
                <c:pt idx="1832">
                  <c:v>12.314952883228139</c:v>
                </c:pt>
                <c:pt idx="1833">
                  <c:v>12.448258504101938</c:v>
                </c:pt>
                <c:pt idx="1834">
                  <c:v>12.376529991223547</c:v>
                </c:pt>
                <c:pt idx="1835">
                  <c:v>12.547029807458307</c:v>
                </c:pt>
                <c:pt idx="1836">
                  <c:v>12.622390074102279</c:v>
                </c:pt>
                <c:pt idx="1837">
                  <c:v>12.76040583168291</c:v>
                </c:pt>
                <c:pt idx="1838">
                  <c:v>13.104378321110685</c:v>
                </c:pt>
                <c:pt idx="1839">
                  <c:v>13.108972548995691</c:v>
                </c:pt>
                <c:pt idx="1840">
                  <c:v>13.326664999166145</c:v>
                </c:pt>
                <c:pt idx="1841">
                  <c:v>12.95226969772405</c:v>
                </c:pt>
                <c:pt idx="1842">
                  <c:v>12.51390624315068</c:v>
                </c:pt>
                <c:pt idx="1843">
                  <c:v>12.495590620144233</c:v>
                </c:pt>
                <c:pt idx="1844">
                  <c:v>12.364969596334621</c:v>
                </c:pt>
                <c:pt idx="1845">
                  <c:v>12.56681070052365</c:v>
                </c:pt>
                <c:pt idx="1846">
                  <c:v>12.348784276935101</c:v>
                </c:pt>
                <c:pt idx="1847">
                  <c:v>12.625286114079378</c:v>
                </c:pt>
                <c:pt idx="1848">
                  <c:v>12.495848773058189</c:v>
                </c:pt>
                <c:pt idx="1849">
                  <c:v>12.600733892264211</c:v>
                </c:pt>
                <c:pt idx="1850">
                  <c:v>12.943383745979984</c:v>
                </c:pt>
                <c:pt idx="1851">
                  <c:v>12.960817709501384</c:v>
                </c:pt>
                <c:pt idx="1852">
                  <c:v>12.896944707786375</c:v>
                </c:pt>
                <c:pt idx="1853">
                  <c:v>12.529277540980756</c:v>
                </c:pt>
                <c:pt idx="1854">
                  <c:v>12.653615234178082</c:v>
                </c:pt>
                <c:pt idx="1855">
                  <c:v>12.452144954926228</c:v>
                </c:pt>
                <c:pt idx="1856">
                  <c:v>12.373836428407696</c:v>
                </c:pt>
                <c:pt idx="1857">
                  <c:v>12.607814610284839</c:v>
                </c:pt>
                <c:pt idx="1858">
                  <c:v>12.965048134051782</c:v>
                </c:pt>
                <c:pt idx="1859">
                  <c:v>12.693491686009633</c:v>
                </c:pt>
                <c:pt idx="1860">
                  <c:v>12.410800014070299</c:v>
                </c:pt>
                <c:pt idx="1861">
                  <c:v>12.987421540843659</c:v>
                </c:pt>
                <c:pt idx="1862">
                  <c:v>12.834680839742941</c:v>
                </c:pt>
                <c:pt idx="1863">
                  <c:v>12.664063116695839</c:v>
                </c:pt>
                <c:pt idx="1864">
                  <c:v>12.868232118261714</c:v>
                </c:pt>
                <c:pt idx="1865">
                  <c:v>12.472421189271179</c:v>
                </c:pt>
                <c:pt idx="1866">
                  <c:v>12.508577702082372</c:v>
                </c:pt>
                <c:pt idx="1867">
                  <c:v>12.413832035534055</c:v>
                </c:pt>
                <c:pt idx="1868">
                  <c:v>12.493611270591268</c:v>
                </c:pt>
                <c:pt idx="1869">
                  <c:v>12.462589178507734</c:v>
                </c:pt>
                <c:pt idx="1870">
                  <c:v>12.462589178507734</c:v>
                </c:pt>
                <c:pt idx="1871">
                  <c:v>12.079841913086499</c:v>
                </c:pt>
                <c:pt idx="1872">
                  <c:v>12.567409635491181</c:v>
                </c:pt>
                <c:pt idx="1873">
                  <c:v>12.610969793786083</c:v>
                </c:pt>
                <c:pt idx="1874">
                  <c:v>12.944380605008176</c:v>
                </c:pt>
                <c:pt idx="1875">
                  <c:v>13.037250188330292</c:v>
                </c:pt>
                <c:pt idx="1876">
                  <c:v>12.551142688843074</c:v>
                </c:pt>
                <c:pt idx="1877">
                  <c:v>12.495848773058185</c:v>
                </c:pt>
                <c:pt idx="1878">
                  <c:v>12.374097121402128</c:v>
                </c:pt>
                <c:pt idx="1879">
                  <c:v>12.396062503529009</c:v>
                </c:pt>
                <c:pt idx="1880">
                  <c:v>12.430365179455658</c:v>
                </c:pt>
                <c:pt idx="1881">
                  <c:v>12.090963478956605</c:v>
                </c:pt>
                <c:pt idx="1882">
                  <c:v>11.740839485656764</c:v>
                </c:pt>
                <c:pt idx="1883">
                  <c:v>12.066036934794621</c:v>
                </c:pt>
                <c:pt idx="1884">
                  <c:v>12.421538699207678</c:v>
                </c:pt>
                <c:pt idx="1885">
                  <c:v>12.470524387315219</c:v>
                </c:pt>
                <c:pt idx="1886">
                  <c:v>12.386430313612495</c:v>
                </c:pt>
                <c:pt idx="1887">
                  <c:v>13.698598939425368</c:v>
                </c:pt>
                <c:pt idx="1888">
                  <c:v>14.242976008945528</c:v>
                </c:pt>
                <c:pt idx="1889">
                  <c:v>14.667864076242996</c:v>
                </c:pt>
                <c:pt idx="1890">
                  <c:v>15.666003188879369</c:v>
                </c:pt>
                <c:pt idx="1891">
                  <c:v>15.954909582474802</c:v>
                </c:pt>
                <c:pt idx="1892">
                  <c:v>16.612600477458546</c:v>
                </c:pt>
                <c:pt idx="1893">
                  <c:v>16.96422548295557</c:v>
                </c:pt>
                <c:pt idx="1894">
                  <c:v>17.39533987774788</c:v>
                </c:pt>
                <c:pt idx="1895">
                  <c:v>17.075732639078488</c:v>
                </c:pt>
                <c:pt idx="1896">
                  <c:v>17.490704136277525</c:v>
                </c:pt>
                <c:pt idx="1897">
                  <c:v>17.950709094329596</c:v>
                </c:pt>
                <c:pt idx="1898">
                  <c:v>18.150979712294568</c:v>
                </c:pt>
                <c:pt idx="1899">
                  <c:v>17.984939936405929</c:v>
                </c:pt>
                <c:pt idx="1900">
                  <c:v>18.395184035473108</c:v>
                </c:pt>
                <c:pt idx="1901">
                  <c:v>18.738035609279422</c:v>
                </c:pt>
                <c:pt idx="1902">
                  <c:v>19.108799976951452</c:v>
                </c:pt>
                <c:pt idx="1903">
                  <c:v>18.63468843053797</c:v>
                </c:pt>
                <c:pt idx="1904">
                  <c:v>18.621412117433838</c:v>
                </c:pt>
                <c:pt idx="1905">
                  <c:v>17.746724671305962</c:v>
                </c:pt>
                <c:pt idx="1906">
                  <c:v>17.042767204256901</c:v>
                </c:pt>
                <c:pt idx="1907">
                  <c:v>16.200491164729996</c:v>
                </c:pt>
                <c:pt idx="1908">
                  <c:v>15.519533304145929</c:v>
                </c:pt>
                <c:pt idx="1909">
                  <c:v>14.456311640130036</c:v>
                </c:pt>
                <c:pt idx="1910">
                  <c:v>14.24591999693736</c:v>
                </c:pt>
                <c:pt idx="1911">
                  <c:v>11.926837903048375</c:v>
                </c:pt>
                <c:pt idx="1912">
                  <c:v>11.536011871200252</c:v>
                </c:pt>
                <c:pt idx="1913">
                  <c:v>11.256061688316336</c:v>
                </c:pt>
                <c:pt idx="1914">
                  <c:v>11.201766373767715</c:v>
                </c:pt>
                <c:pt idx="1915">
                  <c:v>7.5664795581053292</c:v>
                </c:pt>
                <c:pt idx="1916">
                  <c:v>7.2908839825711009</c:v>
                </c:pt>
                <c:pt idx="1917">
                  <c:v>5.7872681913213206</c:v>
                </c:pt>
                <c:pt idx="1918">
                  <c:v>5.9503320590453797</c:v>
                </c:pt>
                <c:pt idx="1919">
                  <c:v>6.0811713642431036</c:v>
                </c:pt>
                <c:pt idx="1920">
                  <c:v>6.0314587475714276</c:v>
                </c:pt>
                <c:pt idx="1921">
                  <c:v>6.0744485125139391</c:v>
                </c:pt>
                <c:pt idx="1922">
                  <c:v>5.7976636006072697</c:v>
                </c:pt>
                <c:pt idx="1923">
                  <c:v>5.5677643628300215</c:v>
                </c:pt>
                <c:pt idx="1924">
                  <c:v>5.6541924687012806</c:v>
                </c:pt>
                <c:pt idx="1925">
                  <c:v>5.8250478792623621</c:v>
                </c:pt>
                <c:pt idx="1926">
                  <c:v>5.7835510169437763</c:v>
                </c:pt>
                <c:pt idx="1927">
                  <c:v>5.7971071762477555</c:v>
                </c:pt>
                <c:pt idx="1928">
                  <c:v>5.965311914439944</c:v>
                </c:pt>
                <c:pt idx="1929">
                  <c:v>6.0030458218961602</c:v>
                </c:pt>
                <c:pt idx="1930">
                  <c:v>5.9349520565863463</c:v>
                </c:pt>
                <c:pt idx="1931">
                  <c:v>6.306337484873314</c:v>
                </c:pt>
                <c:pt idx="1932">
                  <c:v>10.051266437083802</c:v>
                </c:pt>
                <c:pt idx="1933">
                  <c:v>10.153446366543704</c:v>
                </c:pt>
                <c:pt idx="1934">
                  <c:v>12.731807598734079</c:v>
                </c:pt>
                <c:pt idx="1935">
                  <c:v>14.506061024675613</c:v>
                </c:pt>
                <c:pt idx="1936">
                  <c:v>14.75345776857182</c:v>
                </c:pt>
                <c:pt idx="1937">
                  <c:v>16.281990842843872</c:v>
                </c:pt>
                <c:pt idx="1938">
                  <c:v>17.277806013645407</c:v>
                </c:pt>
                <c:pt idx="1939">
                  <c:v>18.21573230001491</c:v>
                </c:pt>
                <c:pt idx="1940">
                  <c:v>18.864029604069909</c:v>
                </c:pt>
                <c:pt idx="1941">
                  <c:v>19.746294058183629</c:v>
                </c:pt>
                <c:pt idx="1942">
                  <c:v>19.917086197048132</c:v>
                </c:pt>
                <c:pt idx="1943">
                  <c:v>20.25626147718917</c:v>
                </c:pt>
                <c:pt idx="1944">
                  <c:v>20.379622966533617</c:v>
                </c:pt>
                <c:pt idx="1945">
                  <c:v>20.36447465457897</c:v>
                </c:pt>
                <c:pt idx="1946">
                  <c:v>19.904503191786223</c:v>
                </c:pt>
                <c:pt idx="1947">
                  <c:v>20.205609782104244</c:v>
                </c:pt>
                <c:pt idx="1948">
                  <c:v>20.527924856758688</c:v>
                </c:pt>
                <c:pt idx="1949">
                  <c:v>19.911362725624727</c:v>
                </c:pt>
                <c:pt idx="1950">
                  <c:v>19.248236897334621</c:v>
                </c:pt>
                <c:pt idx="1951">
                  <c:v>18.824372213896318</c:v>
                </c:pt>
                <c:pt idx="1952">
                  <c:v>18.650376916828915</c:v>
                </c:pt>
                <c:pt idx="1953">
                  <c:v>18.806198932255551</c:v>
                </c:pt>
                <c:pt idx="1954">
                  <c:v>18.542598442215354</c:v>
                </c:pt>
                <c:pt idx="1955">
                  <c:v>17.739634259361551</c:v>
                </c:pt>
                <c:pt idx="1956">
                  <c:v>16.988990742584235</c:v>
                </c:pt>
                <c:pt idx="1957">
                  <c:v>16.240861781255621</c:v>
                </c:pt>
                <c:pt idx="1958">
                  <c:v>15.579280422876524</c:v>
                </c:pt>
                <c:pt idx="1959">
                  <c:v>15.180774485463337</c:v>
                </c:pt>
                <c:pt idx="1960">
                  <c:v>13.983246504145557</c:v>
                </c:pt>
                <c:pt idx="1961">
                  <c:v>11.835521530227263</c:v>
                </c:pt>
                <c:pt idx="1962">
                  <c:v>11.478544735606159</c:v>
                </c:pt>
                <c:pt idx="1963">
                  <c:v>11.561430130683084</c:v>
                </c:pt>
                <c:pt idx="1964">
                  <c:v>11.561430130683084</c:v>
                </c:pt>
                <c:pt idx="1965">
                  <c:v>11.945665520647344</c:v>
                </c:pt>
                <c:pt idx="1966">
                  <c:v>11.808781132189596</c:v>
                </c:pt>
                <c:pt idx="1967">
                  <c:v>11.937021115767518</c:v>
                </c:pt>
                <c:pt idx="1968">
                  <c:v>11.782892647384385</c:v>
                </c:pt>
                <c:pt idx="1969">
                  <c:v>11.77285012220915</c:v>
                </c:pt>
                <c:pt idx="1970">
                  <c:v>12.038736760794253</c:v>
                </c:pt>
                <c:pt idx="1971">
                  <c:v>12.020412745852163</c:v>
                </c:pt>
                <c:pt idx="1972">
                  <c:v>12.350438588703371</c:v>
                </c:pt>
                <c:pt idx="1973">
                  <c:v>12.603634908359803</c:v>
                </c:pt>
                <c:pt idx="1974">
                  <c:v>13.026523810312757</c:v>
                </c:pt>
                <c:pt idx="1975">
                  <c:v>13.013805737944081</c:v>
                </c:pt>
                <c:pt idx="1976">
                  <c:v>12.991477769047522</c:v>
                </c:pt>
                <c:pt idx="1977">
                  <c:v>13.369359930312166</c:v>
                </c:pt>
                <c:pt idx="1978">
                  <c:v>13.189601639088629</c:v>
                </c:pt>
                <c:pt idx="1979">
                  <c:v>13.138632193420232</c:v>
                </c:pt>
                <c:pt idx="1980">
                  <c:v>13.464010171285267</c:v>
                </c:pt>
                <c:pt idx="1981">
                  <c:v>13.502289730152782</c:v>
                </c:pt>
                <c:pt idx="1982">
                  <c:v>13.761564052145028</c:v>
                </c:pt>
                <c:pt idx="1983">
                  <c:v>13.385114505396681</c:v>
                </c:pt>
                <c:pt idx="1984">
                  <c:v>13.32843996227454</c:v>
                </c:pt>
                <c:pt idx="1985">
                  <c:v>13.497988699237052</c:v>
                </c:pt>
                <c:pt idx="1986">
                  <c:v>13.145259581399127</c:v>
                </c:pt>
                <c:pt idx="1987">
                  <c:v>12.897528312011561</c:v>
                </c:pt>
                <c:pt idx="1988">
                  <c:v>12.897528312011561</c:v>
                </c:pt>
                <c:pt idx="1989">
                  <c:v>12.804149193099079</c:v>
                </c:pt>
                <c:pt idx="1990">
                  <c:v>12.485776854321639</c:v>
                </c:pt>
                <c:pt idx="1991">
                  <c:v>11.868635815839673</c:v>
                </c:pt>
                <c:pt idx="1992">
                  <c:v>11.763530301796751</c:v>
                </c:pt>
                <c:pt idx="1993">
                  <c:v>12.129055136102878</c:v>
                </c:pt>
                <c:pt idx="1994">
                  <c:v>11.959789259840029</c:v>
                </c:pt>
                <c:pt idx="1995">
                  <c:v>11.51735483371036</c:v>
                </c:pt>
                <c:pt idx="1996">
                  <c:v>11.604411471134496</c:v>
                </c:pt>
                <c:pt idx="1997">
                  <c:v>11.760879200548422</c:v>
                </c:pt>
                <c:pt idx="1998">
                  <c:v>12.001971164269518</c:v>
                </c:pt>
                <c:pt idx="1999">
                  <c:v>12.29319245131879</c:v>
                </c:pt>
                <c:pt idx="2000">
                  <c:v>12.29319245131879</c:v>
                </c:pt>
                <c:pt idx="2001">
                  <c:v>12.125508524975244</c:v>
                </c:pt>
                <c:pt idx="2002">
                  <c:v>12.530221530878981</c:v>
                </c:pt>
                <c:pt idx="2003">
                  <c:v>12.118767104331704</c:v>
                </c:pt>
                <c:pt idx="2004">
                  <c:v>12.188483900179966</c:v>
                </c:pt>
                <c:pt idx="2005">
                  <c:v>11.813424111886944</c:v>
                </c:pt>
                <c:pt idx="2006">
                  <c:v>11.811603553058477</c:v>
                </c:pt>
                <c:pt idx="2007">
                  <c:v>11.796573222124561</c:v>
                </c:pt>
                <c:pt idx="2008">
                  <c:v>11.373899568654959</c:v>
                </c:pt>
                <c:pt idx="2009">
                  <c:v>11.474422233445912</c:v>
                </c:pt>
                <c:pt idx="2010">
                  <c:v>11.474422233445912</c:v>
                </c:pt>
                <c:pt idx="2011">
                  <c:v>10.951996921070595</c:v>
                </c:pt>
                <c:pt idx="2012">
                  <c:v>11.004300234722514</c:v>
                </c:pt>
                <c:pt idx="2013">
                  <c:v>10.7300201925874</c:v>
                </c:pt>
                <c:pt idx="2014">
                  <c:v>10.71668380740782</c:v>
                </c:pt>
                <c:pt idx="2015">
                  <c:v>10.870103025498253</c:v>
                </c:pt>
                <c:pt idx="2016">
                  <c:v>10.402233010892578</c:v>
                </c:pt>
                <c:pt idx="2017">
                  <c:v>10.384024123105998</c:v>
                </c:pt>
                <c:pt idx="2018">
                  <c:v>10.27472104113383</c:v>
                </c:pt>
                <c:pt idx="2019">
                  <c:v>10.695592499938057</c:v>
                </c:pt>
                <c:pt idx="2020">
                  <c:v>10.732124422669351</c:v>
                </c:pt>
                <c:pt idx="2021">
                  <c:v>10.869509490273227</c:v>
                </c:pt>
                <c:pt idx="2022">
                  <c:v>11.150003616374361</c:v>
                </c:pt>
                <c:pt idx="2023">
                  <c:v>11.437064816328673</c:v>
                </c:pt>
                <c:pt idx="2024">
                  <c:v>11.335736620581073</c:v>
                </c:pt>
                <c:pt idx="2025">
                  <c:v>11.423612595461332</c:v>
                </c:pt>
                <c:pt idx="2026">
                  <c:v>12.208493429901864</c:v>
                </c:pt>
                <c:pt idx="2027">
                  <c:v>11.898766539490147</c:v>
                </c:pt>
                <c:pt idx="2028">
                  <c:v>11.776685551573717</c:v>
                </c:pt>
                <c:pt idx="2029">
                  <c:v>11.426341948435669</c:v>
                </c:pt>
                <c:pt idx="2030">
                  <c:v>11.1828401570663</c:v>
                </c:pt>
                <c:pt idx="2031">
                  <c:v>11.241819008668301</c:v>
                </c:pt>
                <c:pt idx="2032">
                  <c:v>11.316559376817329</c:v>
                </c:pt>
                <c:pt idx="2033">
                  <c:v>11.264083180289157</c:v>
                </c:pt>
                <c:pt idx="2034">
                  <c:v>11.283540205533567</c:v>
                </c:pt>
                <c:pt idx="2035">
                  <c:v>10.999804494841316</c:v>
                </c:pt>
                <c:pt idx="2036">
                  <c:v>11.576858637557017</c:v>
                </c:pt>
                <c:pt idx="2037">
                  <c:v>12.064254496616845</c:v>
                </c:pt>
                <c:pt idx="2038">
                  <c:v>12.263592415142114</c:v>
                </c:pt>
                <c:pt idx="2039">
                  <c:v>12.307179476495282</c:v>
                </c:pt>
                <c:pt idx="2040">
                  <c:v>12.161900672057362</c:v>
                </c:pt>
                <c:pt idx="2041">
                  <c:v>12.114418673008879</c:v>
                </c:pt>
                <c:pt idx="2042">
                  <c:v>12.148985532231306</c:v>
                </c:pt>
                <c:pt idx="2043">
                  <c:v>12.107759886220308</c:v>
                </c:pt>
                <c:pt idx="2044">
                  <c:v>12.015760259910978</c:v>
                </c:pt>
                <c:pt idx="2045">
                  <c:v>12.45015869830193</c:v>
                </c:pt>
                <c:pt idx="2046">
                  <c:v>12.179482129640675</c:v>
                </c:pt>
                <c:pt idx="2047">
                  <c:v>12.197479027391521</c:v>
                </c:pt>
                <c:pt idx="2048">
                  <c:v>12.215713483623396</c:v>
                </c:pt>
                <c:pt idx="2049">
                  <c:v>12.324902669248614</c:v>
                </c:pt>
                <c:pt idx="2050">
                  <c:v>12.17877582703456</c:v>
                </c:pt>
                <c:pt idx="2051">
                  <c:v>12.137739953665003</c:v>
                </c:pt>
                <c:pt idx="2052">
                  <c:v>12.085181542005309</c:v>
                </c:pt>
                <c:pt idx="2053">
                  <c:v>12.22530427090177</c:v>
                </c:pt>
                <c:pt idx="2054">
                  <c:v>12.22530427090177</c:v>
                </c:pt>
                <c:pt idx="2055">
                  <c:v>11.728835892698365</c:v>
                </c:pt>
                <c:pt idx="2056">
                  <c:v>11.282682514862447</c:v>
                </c:pt>
                <c:pt idx="2057">
                  <c:v>11.17543388780253</c:v>
                </c:pt>
                <c:pt idx="2058">
                  <c:v>11.139583590989618</c:v>
                </c:pt>
                <c:pt idx="2059">
                  <c:v>11.56012798976659</c:v>
                </c:pt>
                <c:pt idx="2060">
                  <c:v>11.472735328332929</c:v>
                </c:pt>
                <c:pt idx="2061">
                  <c:v>11.551939743088907</c:v>
                </c:pt>
                <c:pt idx="2062">
                  <c:v>11.974255538400906</c:v>
                </c:pt>
                <c:pt idx="2063">
                  <c:v>11.836066623599226</c:v>
                </c:pt>
                <c:pt idx="2064">
                  <c:v>11.297064039562603</c:v>
                </c:pt>
                <c:pt idx="2065">
                  <c:v>11.385805159925448</c:v>
                </c:pt>
                <c:pt idx="2066">
                  <c:v>11.503622617824933</c:v>
                </c:pt>
                <c:pt idx="2067">
                  <c:v>11.115715891697945</c:v>
                </c:pt>
                <c:pt idx="2068">
                  <c:v>10.442983959505762</c:v>
                </c:pt>
                <c:pt idx="2069">
                  <c:v>10.041526679968346</c:v>
                </c:pt>
                <c:pt idx="2070">
                  <c:v>10.081282560493786</c:v>
                </c:pt>
                <c:pt idx="2071">
                  <c:v>10.213526767589052</c:v>
                </c:pt>
                <c:pt idx="2072">
                  <c:v>10.233720352739004</c:v>
                </c:pt>
                <c:pt idx="2073">
                  <c:v>9.9483612958676897</c:v>
                </c:pt>
                <c:pt idx="2074">
                  <c:v>10.725910744096401</c:v>
                </c:pt>
                <c:pt idx="2075">
                  <c:v>10.832646793796046</c:v>
                </c:pt>
                <c:pt idx="2076">
                  <c:v>9.9723273024884715</c:v>
                </c:pt>
                <c:pt idx="2077">
                  <c:v>10.314933323214724</c:v>
                </c:pt>
                <c:pt idx="2078">
                  <c:v>10.397994016630923</c:v>
                </c:pt>
                <c:pt idx="2079">
                  <c:v>10.906740541853548</c:v>
                </c:pt>
                <c:pt idx="2080">
                  <c:v>10.84663368818139</c:v>
                </c:pt>
                <c:pt idx="2081">
                  <c:v>10.74303975724778</c:v>
                </c:pt>
                <c:pt idx="2082">
                  <c:v>10.744641074878071</c:v>
                </c:pt>
                <c:pt idx="2083">
                  <c:v>11.02177707506703</c:v>
                </c:pt>
                <c:pt idx="2084">
                  <c:v>11.381176687658392</c:v>
                </c:pt>
                <c:pt idx="2085">
                  <c:v>11.381176687658392</c:v>
                </c:pt>
                <c:pt idx="2086">
                  <c:v>11.637536597773437</c:v>
                </c:pt>
                <c:pt idx="2087">
                  <c:v>11.97614115603383</c:v>
                </c:pt>
                <c:pt idx="2088">
                  <c:v>11.650741819568252</c:v>
                </c:pt>
                <c:pt idx="2089">
                  <c:v>11.650741819568252</c:v>
                </c:pt>
                <c:pt idx="2090">
                  <c:v>11.54802966948526</c:v>
                </c:pt>
                <c:pt idx="2091">
                  <c:v>11.812058719071613</c:v>
                </c:pt>
                <c:pt idx="2092">
                  <c:v>11.740381558526321</c:v>
                </c:pt>
                <c:pt idx="2093">
                  <c:v>11.765358299430513</c:v>
                </c:pt>
                <c:pt idx="2094">
                  <c:v>11.69541772229298</c:v>
                </c:pt>
                <c:pt idx="2095">
                  <c:v>11.910418318267796</c:v>
                </c:pt>
                <c:pt idx="2096">
                  <c:v>11.784078925780845</c:v>
                </c:pt>
                <c:pt idx="2097">
                  <c:v>12.169236729583544</c:v>
                </c:pt>
                <c:pt idx="2098">
                  <c:v>12.428375442069338</c:v>
                </c:pt>
                <c:pt idx="2099">
                  <c:v>12.478109865137892</c:v>
                </c:pt>
                <c:pt idx="2100">
                  <c:v>12.590404265546537</c:v>
                </c:pt>
                <c:pt idx="2101">
                  <c:v>12.52696017327411</c:v>
                </c:pt>
                <c:pt idx="2102">
                  <c:v>12.624945437974295</c:v>
                </c:pt>
                <c:pt idx="2103">
                  <c:v>12.552684671938442</c:v>
                </c:pt>
                <c:pt idx="2104">
                  <c:v>12.584339132344198</c:v>
                </c:pt>
                <c:pt idx="2105">
                  <c:v>12.375834934362233</c:v>
                </c:pt>
                <c:pt idx="2106">
                  <c:v>12.569634001224188</c:v>
                </c:pt>
                <c:pt idx="2107">
                  <c:v>12.653020379782166</c:v>
                </c:pt>
                <c:pt idx="2108">
                  <c:v>12.162431137843935</c:v>
                </c:pt>
                <c:pt idx="2109">
                  <c:v>12.300974696934535</c:v>
                </c:pt>
                <c:pt idx="2110">
                  <c:v>12.300974696934535</c:v>
                </c:pt>
                <c:pt idx="2111">
                  <c:v>11.684379794528921</c:v>
                </c:pt>
                <c:pt idx="2112">
                  <c:v>11.675541939023322</c:v>
                </c:pt>
                <c:pt idx="2113">
                  <c:v>11.655263244145223</c:v>
                </c:pt>
                <c:pt idx="2114">
                  <c:v>11.60422614895664</c:v>
                </c:pt>
                <c:pt idx="2115">
                  <c:v>11.49137123685532</c:v>
                </c:pt>
                <c:pt idx="2116">
                  <c:v>11.093347808096429</c:v>
                </c:pt>
                <c:pt idx="2117">
                  <c:v>10.922207819663292</c:v>
                </c:pt>
                <c:pt idx="2118">
                  <c:v>10.814168324893956</c:v>
                </c:pt>
                <c:pt idx="2119">
                  <c:v>10.698708594564012</c:v>
                </c:pt>
                <c:pt idx="2120">
                  <c:v>11.265801328351767</c:v>
                </c:pt>
                <c:pt idx="2121">
                  <c:v>11.003323056221236</c:v>
                </c:pt>
                <c:pt idx="2122">
                  <c:v>11.157908618158817</c:v>
                </c:pt>
                <c:pt idx="2123">
                  <c:v>11.5399260167957</c:v>
                </c:pt>
                <c:pt idx="2124">
                  <c:v>11.488189353577697</c:v>
                </c:pt>
                <c:pt idx="2125">
                  <c:v>11.610154991417263</c:v>
                </c:pt>
                <c:pt idx="2126">
                  <c:v>11.529671865813587</c:v>
                </c:pt>
                <c:pt idx="2127">
                  <c:v>11.517914984553318</c:v>
                </c:pt>
                <c:pt idx="2128">
                  <c:v>11.174952791509821</c:v>
                </c:pt>
                <c:pt idx="2129">
                  <c:v>11.318649564192242</c:v>
                </c:pt>
                <c:pt idx="2130">
                  <c:v>11.366428591458762</c:v>
                </c:pt>
                <c:pt idx="2131">
                  <c:v>11.173413144170521</c:v>
                </c:pt>
                <c:pt idx="2132">
                  <c:v>11.272003571509771</c:v>
                </c:pt>
                <c:pt idx="2133">
                  <c:v>10.755443732941618</c:v>
                </c:pt>
                <c:pt idx="2134">
                  <c:v>10.703129880895206</c:v>
                </c:pt>
                <c:pt idx="2135">
                  <c:v>11.218168826861048</c:v>
                </c:pt>
                <c:pt idx="2136">
                  <c:v>11.689624109780304</c:v>
                </c:pt>
                <c:pt idx="2137">
                  <c:v>11.721682876718921</c:v>
                </c:pt>
                <c:pt idx="2138">
                  <c:v>11.629680234881413</c:v>
                </c:pt>
                <c:pt idx="2139">
                  <c:v>12.322983160683725</c:v>
                </c:pt>
                <c:pt idx="2140">
                  <c:v>12.252276505608762</c:v>
                </c:pt>
                <c:pt idx="2141">
                  <c:v>12.330659402088868</c:v>
                </c:pt>
                <c:pt idx="2142">
                  <c:v>12.908778375190463</c:v>
                </c:pt>
                <c:pt idx="2143">
                  <c:v>13.280108821940454</c:v>
                </c:pt>
                <c:pt idx="2144">
                  <c:v>13.681397778052151</c:v>
                </c:pt>
                <c:pt idx="2145">
                  <c:v>13.896622936248148</c:v>
                </c:pt>
                <c:pt idx="2146">
                  <c:v>13.728002932551007</c:v>
                </c:pt>
                <c:pt idx="2147">
                  <c:v>13.690747208965073</c:v>
                </c:pt>
                <c:pt idx="2148">
                  <c:v>14.06345068471072</c:v>
                </c:pt>
                <c:pt idx="2149">
                  <c:v>13.916030827017259</c:v>
                </c:pt>
                <c:pt idx="2150">
                  <c:v>13.999923194873805</c:v>
                </c:pt>
                <c:pt idx="2151">
                  <c:v>13.766798145639955</c:v>
                </c:pt>
                <c:pt idx="2152">
                  <c:v>13.783502683881158</c:v>
                </c:pt>
                <c:pt idx="2153">
                  <c:v>13.826964462113843</c:v>
                </c:pt>
                <c:pt idx="2154">
                  <c:v>13.911316658849934</c:v>
                </c:pt>
                <c:pt idx="2155">
                  <c:v>13.699619333852787</c:v>
                </c:pt>
                <c:pt idx="2156">
                  <c:v>13.751480858673061</c:v>
                </c:pt>
                <c:pt idx="2157">
                  <c:v>13.782566516616063</c:v>
                </c:pt>
                <c:pt idx="2158">
                  <c:v>14.091177747888237</c:v>
                </c:pt>
                <c:pt idx="2159">
                  <c:v>13.964240043768941</c:v>
                </c:pt>
                <c:pt idx="2160">
                  <c:v>13.519957370932346</c:v>
                </c:pt>
                <c:pt idx="2161">
                  <c:v>13.519957370932346</c:v>
                </c:pt>
                <c:pt idx="2162">
                  <c:v>13.474787288603791</c:v>
                </c:pt>
                <c:pt idx="2163">
                  <c:v>13.362602283423172</c:v>
                </c:pt>
                <c:pt idx="2164">
                  <c:v>13.18177301370898</c:v>
                </c:pt>
                <c:pt idx="2165">
                  <c:v>13.436269323489066</c:v>
                </c:pt>
                <c:pt idx="2166">
                  <c:v>13.182996542875308</c:v>
                </c:pt>
                <c:pt idx="2167">
                  <c:v>12.959905083948193</c:v>
                </c:pt>
                <c:pt idx="2168">
                  <c:v>12.769587526282823</c:v>
                </c:pt>
                <c:pt idx="2169">
                  <c:v>12.48758523279167</c:v>
                </c:pt>
                <c:pt idx="2170">
                  <c:v>12.094075684675811</c:v>
                </c:pt>
                <c:pt idx="2171">
                  <c:v>12.055249157859183</c:v>
                </c:pt>
                <c:pt idx="2172">
                  <c:v>12.055249157859182</c:v>
                </c:pt>
                <c:pt idx="2173">
                  <c:v>11.824705320386572</c:v>
                </c:pt>
                <c:pt idx="2174">
                  <c:v>11.335926332084716</c:v>
                </c:pt>
                <c:pt idx="2175">
                  <c:v>11.005863539862037</c:v>
                </c:pt>
                <c:pt idx="2176">
                  <c:v>11.184570785502409</c:v>
                </c:pt>
                <c:pt idx="2177">
                  <c:v>11.561058105386767</c:v>
                </c:pt>
                <c:pt idx="2178">
                  <c:v>11.577787409100351</c:v>
                </c:pt>
                <c:pt idx="2179">
                  <c:v>11.188800083647395</c:v>
                </c:pt>
                <c:pt idx="2180">
                  <c:v>11.45416297519664</c:v>
                </c:pt>
                <c:pt idx="2181">
                  <c:v>11.525474356389196</c:v>
                </c:pt>
                <c:pt idx="2182">
                  <c:v>11.501846509073211</c:v>
                </c:pt>
                <c:pt idx="2183">
                  <c:v>11.598479692735411</c:v>
                </c:pt>
                <c:pt idx="2184">
                  <c:v>11.497171227591556</c:v>
                </c:pt>
                <c:pt idx="2185">
                  <c:v>11.001075216267658</c:v>
                </c:pt>
                <c:pt idx="2186">
                  <c:v>10.66518806956257</c:v>
                </c:pt>
                <c:pt idx="2187">
                  <c:v>10.385680795759027</c:v>
                </c:pt>
                <c:pt idx="2188">
                  <c:v>10.334408546211051</c:v>
                </c:pt>
                <c:pt idx="2189">
                  <c:v>10.342209160647482</c:v>
                </c:pt>
                <c:pt idx="2190">
                  <c:v>10.72621148883546</c:v>
                </c:pt>
                <c:pt idx="2191">
                  <c:v>10.700216056506243</c:v>
                </c:pt>
                <c:pt idx="2192">
                  <c:v>10.294585694609372</c:v>
                </c:pt>
                <c:pt idx="2193">
                  <c:v>11.050616681084277</c:v>
                </c:pt>
                <c:pt idx="2194">
                  <c:v>11.363211722271187</c:v>
                </c:pt>
                <c:pt idx="2195">
                  <c:v>11.306863459435716</c:v>
                </c:pt>
                <c:pt idx="2196">
                  <c:v>10.838005609492821</c:v>
                </c:pt>
                <c:pt idx="2197">
                  <c:v>11.146820753166608</c:v>
                </c:pt>
                <c:pt idx="2198">
                  <c:v>11.040979386198112</c:v>
                </c:pt>
                <c:pt idx="2199">
                  <c:v>11.268473482404611</c:v>
                </c:pt>
                <c:pt idx="2200">
                  <c:v>11.379381467401695</c:v>
                </c:pt>
                <c:pt idx="2201">
                  <c:v>11.256252742651597</c:v>
                </c:pt>
                <c:pt idx="2202">
                  <c:v>11.693302926604327</c:v>
                </c:pt>
                <c:pt idx="2203">
                  <c:v>11.767003254499333</c:v>
                </c:pt>
                <c:pt idx="2204">
                  <c:v>11.714341912869578</c:v>
                </c:pt>
                <c:pt idx="2205">
                  <c:v>11.67204177253427</c:v>
                </c:pt>
                <c:pt idx="2206">
                  <c:v>12.233744975641441</c:v>
                </c:pt>
                <c:pt idx="2207">
                  <c:v>12.398491063236738</c:v>
                </c:pt>
                <c:pt idx="2208">
                  <c:v>12.032482917556555</c:v>
                </c:pt>
                <c:pt idx="2209">
                  <c:v>12.241565013448838</c:v>
                </c:pt>
                <c:pt idx="2210">
                  <c:v>12.504364829328447</c:v>
                </c:pt>
                <c:pt idx="2211">
                  <c:v>12.326036783804392</c:v>
                </c:pt>
                <c:pt idx="2212">
                  <c:v>12.19227677274535</c:v>
                </c:pt>
                <c:pt idx="2213">
                  <c:v>12.192276772745352</c:v>
                </c:pt>
                <c:pt idx="2214">
                  <c:v>12.076102768050468</c:v>
                </c:pt>
                <c:pt idx="2215">
                  <c:v>11.929632393006001</c:v>
                </c:pt>
                <c:pt idx="2216">
                  <c:v>11.980360272465287</c:v>
                </c:pt>
                <c:pt idx="2217">
                  <c:v>12.279627327888578</c:v>
                </c:pt>
                <c:pt idx="2218">
                  <c:v>12.325251638688327</c:v>
                </c:pt>
                <c:pt idx="2219">
                  <c:v>12.375748049509825</c:v>
                </c:pt>
                <c:pt idx="2220">
                  <c:v>12.331792987216817</c:v>
                </c:pt>
                <c:pt idx="2221">
                  <c:v>12.263592415142114</c:v>
                </c:pt>
                <c:pt idx="2222">
                  <c:v>12.172063908185264</c:v>
                </c:pt>
                <c:pt idx="2223">
                  <c:v>13.250847000722599</c:v>
                </c:pt>
                <c:pt idx="2224">
                  <c:v>13.290792349981345</c:v>
                </c:pt>
                <c:pt idx="2225">
                  <c:v>14.141831488511745</c:v>
                </c:pt>
                <c:pt idx="2226">
                  <c:v>15.643680231415999</c:v>
                </c:pt>
                <c:pt idx="2227">
                  <c:v>16.245958968177252</c:v>
                </c:pt>
                <c:pt idx="2228">
                  <c:v>16.774660870247956</c:v>
                </c:pt>
                <c:pt idx="2229">
                  <c:v>17.953104981997505</c:v>
                </c:pt>
                <c:pt idx="2230">
                  <c:v>18.042005944312944</c:v>
                </c:pt>
                <c:pt idx="2231">
                  <c:v>18.042899893285995</c:v>
                </c:pt>
                <c:pt idx="2232">
                  <c:v>18.321090731487519</c:v>
                </c:pt>
                <c:pt idx="2233">
                  <c:v>18.66760750317172</c:v>
                </c:pt>
                <c:pt idx="2234">
                  <c:v>17.682565376086409</c:v>
                </c:pt>
                <c:pt idx="2235">
                  <c:v>18.168447185114076</c:v>
                </c:pt>
                <c:pt idx="2236">
                  <c:v>17.553175738157005</c:v>
                </c:pt>
                <c:pt idx="2237">
                  <c:v>18.150031843332354</c:v>
                </c:pt>
                <c:pt idx="2238">
                  <c:v>18.72965562950905</c:v>
                </c:pt>
                <c:pt idx="2239">
                  <c:v>18.40441742205282</c:v>
                </c:pt>
                <c:pt idx="2240">
                  <c:v>17.114038757132846</c:v>
                </c:pt>
                <c:pt idx="2241">
                  <c:v>17.036961716107982</c:v>
                </c:pt>
                <c:pt idx="2242">
                  <c:v>17.097443687439398</c:v>
                </c:pt>
                <c:pt idx="2243">
                  <c:v>15.961782313502964</c:v>
                </c:pt>
                <c:pt idx="2244">
                  <c:v>14.545294476147584</c:v>
                </c:pt>
                <c:pt idx="2245">
                  <c:v>14.012360135221323</c:v>
                </c:pt>
                <c:pt idx="2246">
                  <c:v>13.512399721609745</c:v>
                </c:pt>
                <c:pt idx="2247">
                  <c:v>13.319078401389701</c:v>
                </c:pt>
                <c:pt idx="2248">
                  <c:v>13.035435575582481</c:v>
                </c:pt>
                <c:pt idx="2249">
                  <c:v>12.727246194637891</c:v>
                </c:pt>
                <c:pt idx="2250">
                  <c:v>12.621367783690594</c:v>
                </c:pt>
                <c:pt idx="2251">
                  <c:v>11.424365585548198</c:v>
                </c:pt>
                <c:pt idx="2252">
                  <c:v>10.773324284037503</c:v>
                </c:pt>
                <c:pt idx="2253">
                  <c:v>9.0973232504171602</c:v>
                </c:pt>
                <c:pt idx="2254">
                  <c:v>9.2622485019474592</c:v>
                </c:pt>
                <c:pt idx="2255">
                  <c:v>8.8766941439215525</c:v>
                </c:pt>
                <c:pt idx="2256">
                  <c:v>9.1411864833062371</c:v>
                </c:pt>
                <c:pt idx="2257">
                  <c:v>9.1411864833062371</c:v>
                </c:pt>
                <c:pt idx="2258">
                  <c:v>9.1468309336639759</c:v>
                </c:pt>
                <c:pt idx="2259">
                  <c:v>9.1501219217448515</c:v>
                </c:pt>
                <c:pt idx="2260">
                  <c:v>8.8012706804982361</c:v>
                </c:pt>
                <c:pt idx="2261">
                  <c:v>8.6578946508343613</c:v>
                </c:pt>
                <c:pt idx="2262">
                  <c:v>8.2799148091820278</c:v>
                </c:pt>
                <c:pt idx="2263">
                  <c:v>8.266137686856208</c:v>
                </c:pt>
                <c:pt idx="2264">
                  <c:v>8.266137686856208</c:v>
                </c:pt>
                <c:pt idx="2265">
                  <c:v>8.1330336627324851</c:v>
                </c:pt>
                <c:pt idx="2266">
                  <c:v>8.1330336627324851</c:v>
                </c:pt>
                <c:pt idx="2267">
                  <c:v>7.6916376879427073</c:v>
                </c:pt>
                <c:pt idx="2268">
                  <c:v>8.2774470117457177</c:v>
                </c:pt>
                <c:pt idx="2269">
                  <c:v>8.7779048128369332</c:v>
                </c:pt>
                <c:pt idx="2270">
                  <c:v>9.2221099444734982</c:v>
                </c:pt>
                <c:pt idx="2271">
                  <c:v>9.3395908362865292</c:v>
                </c:pt>
                <c:pt idx="2272">
                  <c:v>9.1501219217448533</c:v>
                </c:pt>
                <c:pt idx="2273">
                  <c:v>9.9911789051131734</c:v>
                </c:pt>
                <c:pt idx="2274">
                  <c:v>10.433403758050135</c:v>
                </c:pt>
                <c:pt idx="2275">
                  <c:v>44.425508510895092</c:v>
                </c:pt>
                <c:pt idx="2276">
                  <c:v>61.003384358786278</c:v>
                </c:pt>
                <c:pt idx="2277">
                  <c:v>73.140680471164231</c:v>
                </c:pt>
                <c:pt idx="2278">
                  <c:v>82.672524072748274</c:v>
                </c:pt>
                <c:pt idx="2279">
                  <c:v>90.626149232609379</c:v>
                </c:pt>
                <c:pt idx="2280">
                  <c:v>97.420284478936864</c:v>
                </c:pt>
                <c:pt idx="2281">
                  <c:v>103.33178632209999</c:v>
                </c:pt>
                <c:pt idx="2282">
                  <c:v>108.28296264879347</c:v>
                </c:pt>
                <c:pt idx="2283">
                  <c:v>112.66501875743378</c:v>
                </c:pt>
                <c:pt idx="2284">
                  <c:v>116.25246904534882</c:v>
                </c:pt>
                <c:pt idx="2285">
                  <c:v>118.95400755745261</c:v>
                </c:pt>
                <c:pt idx="2286">
                  <c:v>121.35812992512999</c:v>
                </c:pt>
                <c:pt idx="2287">
                  <c:v>122.81431915394603</c:v>
                </c:pt>
                <c:pt idx="2288">
                  <c:v>123.71573382435609</c:v>
                </c:pt>
                <c:pt idx="2289">
                  <c:v>124.42117165896344</c:v>
                </c:pt>
                <c:pt idx="2290">
                  <c:v>124.5704188293185</c:v>
                </c:pt>
                <c:pt idx="2291">
                  <c:v>123.30155359231922</c:v>
                </c:pt>
                <c:pt idx="2292">
                  <c:v>121.99774367735492</c:v>
                </c:pt>
                <c:pt idx="2293">
                  <c:v>121.10621837474845</c:v>
                </c:pt>
                <c:pt idx="2294">
                  <c:v>120.0367954340023</c:v>
                </c:pt>
                <c:pt idx="2295">
                  <c:v>119.52345340550738</c:v>
                </c:pt>
                <c:pt idx="2296">
                  <c:v>118.06246751850962</c:v>
                </c:pt>
                <c:pt idx="2297">
                  <c:v>116.44054276754295</c:v>
                </c:pt>
                <c:pt idx="2298">
                  <c:v>115.10102154755327</c:v>
                </c:pt>
                <c:pt idx="2299">
                  <c:v>112.8783625465164</c:v>
                </c:pt>
                <c:pt idx="2300">
                  <c:v>111.42034137947289</c:v>
                </c:pt>
                <c:pt idx="2301">
                  <c:v>109.78296281632765</c:v>
                </c:pt>
                <c:pt idx="2302">
                  <c:v>108.63224931574346</c:v>
                </c:pt>
                <c:pt idx="2303">
                  <c:v>107.35714689412769</c:v>
                </c:pt>
                <c:pt idx="2304">
                  <c:v>104.29841388911409</c:v>
                </c:pt>
                <c:pt idx="2305">
                  <c:v>101.7155637745694</c:v>
                </c:pt>
                <c:pt idx="2306">
                  <c:v>102.32166232350393</c:v>
                </c:pt>
                <c:pt idx="2307">
                  <c:v>101.63289409089127</c:v>
                </c:pt>
                <c:pt idx="2308">
                  <c:v>101.23860881095955</c:v>
                </c:pt>
                <c:pt idx="2309">
                  <c:v>100.2885085452793</c:v>
                </c:pt>
                <c:pt idx="2310">
                  <c:v>98.501350899529598</c:v>
                </c:pt>
                <c:pt idx="2311">
                  <c:v>96.170580975479652</c:v>
                </c:pt>
                <c:pt idx="2312">
                  <c:v>93.395712641346364</c:v>
                </c:pt>
                <c:pt idx="2313">
                  <c:v>89.803740612276215</c:v>
                </c:pt>
                <c:pt idx="2314">
                  <c:v>85.637935017015053</c:v>
                </c:pt>
                <c:pt idx="2315">
                  <c:v>80.926476654157597</c:v>
                </c:pt>
                <c:pt idx="2316">
                  <c:v>75.354488417951472</c:v>
                </c:pt>
                <c:pt idx="2317">
                  <c:v>69.215092517875505</c:v>
                </c:pt>
                <c:pt idx="2318">
                  <c:v>61.407365324764022</c:v>
                </c:pt>
                <c:pt idx="2319">
                  <c:v>51.667880665584839</c:v>
                </c:pt>
                <c:pt idx="2320">
                  <c:v>38.263714246750617</c:v>
                </c:pt>
                <c:pt idx="2321">
                  <c:v>12.927673076884167</c:v>
                </c:pt>
                <c:pt idx="2322">
                  <c:v>12.866978657981297</c:v>
                </c:pt>
                <c:pt idx="2323">
                  <c:v>12.3070921069533</c:v>
                </c:pt>
                <c:pt idx="2324">
                  <c:v>12.333013654677094</c:v>
                </c:pt>
                <c:pt idx="2325">
                  <c:v>12.719302070526133</c:v>
                </c:pt>
                <c:pt idx="2326">
                  <c:v>12.642988621774624</c:v>
                </c:pt>
                <c:pt idx="2327">
                  <c:v>12.45516691159532</c:v>
                </c:pt>
                <c:pt idx="2328">
                  <c:v>12.427250666973164</c:v>
                </c:pt>
                <c:pt idx="2329">
                  <c:v>12.445580465300907</c:v>
                </c:pt>
                <c:pt idx="2330">
                  <c:v>12.436505404118419</c:v>
                </c:pt>
                <c:pt idx="2331">
                  <c:v>12.148365968266049</c:v>
                </c:pt>
                <c:pt idx="2332">
                  <c:v>12.309800274403273</c:v>
                </c:pt>
                <c:pt idx="2333">
                  <c:v>11.915653389509311</c:v>
                </c:pt>
                <c:pt idx="2334">
                  <c:v>12.128966483463843</c:v>
                </c:pt>
                <c:pt idx="2335">
                  <c:v>11.907529017887295</c:v>
                </c:pt>
                <c:pt idx="2336">
                  <c:v>11.901657967089768</c:v>
                </c:pt>
                <c:pt idx="2337">
                  <c:v>11.685760105671854</c:v>
                </c:pt>
                <c:pt idx="2338">
                  <c:v>11.947375651005393</c:v>
                </c:pt>
                <c:pt idx="2339">
                  <c:v>11.993725958416402</c:v>
                </c:pt>
                <c:pt idx="2340">
                  <c:v>11.985923643649574</c:v>
                </c:pt>
                <c:pt idx="2341">
                  <c:v>12.402133011131852</c:v>
                </c:pt>
                <c:pt idx="2342">
                  <c:v>12.896861333598363</c:v>
                </c:pt>
                <c:pt idx="2343">
                  <c:v>12.9500280233848</c:v>
                </c:pt>
                <c:pt idx="2344">
                  <c:v>12.760321565368677</c:v>
                </c:pt>
                <c:pt idx="2345">
                  <c:v>12.775480547744827</c:v>
                </c:pt>
                <c:pt idx="2346">
                  <c:v>13.165448426015139</c:v>
                </c:pt>
                <c:pt idx="2347">
                  <c:v>13.310033405191433</c:v>
                </c:pt>
                <c:pt idx="2348">
                  <c:v>13.013805737944079</c:v>
                </c:pt>
                <c:pt idx="2349">
                  <c:v>13.030980454781723</c:v>
                </c:pt>
                <c:pt idx="2350">
                  <c:v>12.959822114802034</c:v>
                </c:pt>
                <c:pt idx="2351">
                  <c:v>12.84196749070243</c:v>
                </c:pt>
                <c:pt idx="2352">
                  <c:v>12.916855704478648</c:v>
                </c:pt>
                <c:pt idx="2353">
                  <c:v>13.13478513890354</c:v>
                </c:pt>
                <c:pt idx="2354">
                  <c:v>13.297101309150293</c:v>
                </c:pt>
                <c:pt idx="2355">
                  <c:v>13.366464214271394</c:v>
                </c:pt>
                <c:pt idx="2356">
                  <c:v>13.515264170240915</c:v>
                </c:pt>
                <c:pt idx="2357">
                  <c:v>13.474627690509651</c:v>
                </c:pt>
                <c:pt idx="2358">
                  <c:v>13.474627690509651</c:v>
                </c:pt>
                <c:pt idx="2359">
                  <c:v>13.474627690509651</c:v>
                </c:pt>
                <c:pt idx="2360">
                  <c:v>13.911084773298324</c:v>
                </c:pt>
                <c:pt idx="2361">
                  <c:v>13.975093051799391</c:v>
                </c:pt>
                <c:pt idx="2362">
                  <c:v>13.902889001234426</c:v>
                </c:pt>
                <c:pt idx="2363">
                  <c:v>13.97878577033439</c:v>
                </c:pt>
                <c:pt idx="2364">
                  <c:v>13.934099891451412</c:v>
                </c:pt>
                <c:pt idx="2365">
                  <c:v>14.06543846240795</c:v>
                </c:pt>
                <c:pt idx="2366">
                  <c:v>14.000460821908913</c:v>
                </c:pt>
                <c:pt idx="2367">
                  <c:v>14.000460821908913</c:v>
                </c:pt>
                <c:pt idx="2368">
                  <c:v>13.914949027991906</c:v>
                </c:pt>
                <c:pt idx="2369">
                  <c:v>13.734502507909959</c:v>
                </c:pt>
                <c:pt idx="2370">
                  <c:v>13.851206228285486</c:v>
                </c:pt>
                <c:pt idx="2371">
                  <c:v>13.612217788379654</c:v>
                </c:pt>
                <c:pt idx="2372">
                  <c:v>13.095513472876107</c:v>
                </c:pt>
                <c:pt idx="2373">
                  <c:v>13.189764686040396</c:v>
                </c:pt>
                <c:pt idx="2374">
                  <c:v>13.060734883570859</c:v>
                </c:pt>
                <c:pt idx="2375">
                  <c:v>13.095759799690233</c:v>
                </c:pt>
                <c:pt idx="2376">
                  <c:v>13.070116946272796</c:v>
                </c:pt>
                <c:pt idx="2377">
                  <c:v>12.885350521600728</c:v>
                </c:pt>
                <c:pt idx="2378">
                  <c:v>12.618896906615293</c:v>
                </c:pt>
                <c:pt idx="2379">
                  <c:v>12.800453620994288</c:v>
                </c:pt>
                <c:pt idx="2380">
                  <c:v>12.698234573763498</c:v>
                </c:pt>
                <c:pt idx="2381">
                  <c:v>12.698234573763498</c:v>
                </c:pt>
                <c:pt idx="2382">
                  <c:v>12.711775930680494</c:v>
                </c:pt>
                <c:pt idx="2383">
                  <c:v>12.529792453378114</c:v>
                </c:pt>
                <c:pt idx="2384">
                  <c:v>12.427769806590055</c:v>
                </c:pt>
                <c:pt idx="2385">
                  <c:v>12.16057440635405</c:v>
                </c:pt>
                <c:pt idx="2386">
                  <c:v>12.035431562815926</c:v>
                </c:pt>
                <c:pt idx="2387">
                  <c:v>11.822886498706241</c:v>
                </c:pt>
                <c:pt idx="2388">
                  <c:v>11.557802373242273</c:v>
                </c:pt>
                <c:pt idx="2389">
                  <c:v>11.60200205192635</c:v>
                </c:pt>
                <c:pt idx="2390">
                  <c:v>11.781341180018513</c:v>
                </c:pt>
                <c:pt idx="2391">
                  <c:v>11.725993549852516</c:v>
                </c:pt>
                <c:pt idx="2392">
                  <c:v>11.588370143408657</c:v>
                </c:pt>
                <c:pt idx="2393">
                  <c:v>11.589483553302022</c:v>
                </c:pt>
                <c:pt idx="2394">
                  <c:v>11.260837074254438</c:v>
                </c:pt>
                <c:pt idx="2395">
                  <c:v>11.531909912783707</c:v>
                </c:pt>
                <c:pt idx="2396">
                  <c:v>11.295065056194051</c:v>
                </c:pt>
                <c:pt idx="2397">
                  <c:v>11.097999432233248</c:v>
                </c:pt>
                <c:pt idx="2398">
                  <c:v>11.065980027927695</c:v>
                </c:pt>
                <c:pt idx="2399">
                  <c:v>10.956119711822472</c:v>
                </c:pt>
                <c:pt idx="2400">
                  <c:v>11.479106780282091</c:v>
                </c:pt>
                <c:pt idx="2401">
                  <c:v>10.98591473572616</c:v>
                </c:pt>
                <c:pt idx="2402">
                  <c:v>10.86574968094849</c:v>
                </c:pt>
                <c:pt idx="2403">
                  <c:v>10.757143163138531</c:v>
                </c:pt>
                <c:pt idx="2404">
                  <c:v>10.658128303071379</c:v>
                </c:pt>
                <c:pt idx="2405">
                  <c:v>10.643994722655304</c:v>
                </c:pt>
                <c:pt idx="2406">
                  <c:v>11.160606604703267</c:v>
                </c:pt>
                <c:pt idx="2407">
                  <c:v>11.530231418282106</c:v>
                </c:pt>
                <c:pt idx="2408">
                  <c:v>11.376451815657573</c:v>
                </c:pt>
                <c:pt idx="2409">
                  <c:v>11.344365282196883</c:v>
                </c:pt>
                <c:pt idx="2410">
                  <c:v>11.026751439650209</c:v>
                </c:pt>
                <c:pt idx="2411">
                  <c:v>11.026751439650209</c:v>
                </c:pt>
                <c:pt idx="2412">
                  <c:v>11.436312662385021</c:v>
                </c:pt>
                <c:pt idx="2413">
                  <c:v>11.79967194732617</c:v>
                </c:pt>
                <c:pt idx="2414">
                  <c:v>12.027298698315205</c:v>
                </c:pt>
                <c:pt idx="2415">
                  <c:v>11.797940407099128</c:v>
                </c:pt>
                <c:pt idx="2416">
                  <c:v>12.210607058258109</c:v>
                </c:pt>
                <c:pt idx="2417">
                  <c:v>12.18998354899346</c:v>
                </c:pt>
                <c:pt idx="2418">
                  <c:v>12.481814728825741</c:v>
                </c:pt>
                <c:pt idx="2419">
                  <c:v>12.687730081604665</c:v>
                </c:pt>
                <c:pt idx="2420">
                  <c:v>12.77859433264393</c:v>
                </c:pt>
                <c:pt idx="2421">
                  <c:v>12.934990471377382</c:v>
                </c:pt>
                <c:pt idx="2422">
                  <c:v>12.585278992212608</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pt idx="2452">
                  <c:v>#N/A</c:v>
                </c:pt>
              </c:numCache>
            </c:numRef>
          </c:val>
          <c:smooth val="0"/>
          <c:extLst>
            <c:ext xmlns:c16="http://schemas.microsoft.com/office/drawing/2014/chart" uri="{C3380CC4-5D6E-409C-BE32-E72D297353CC}">
              <c16:uniqueId val="{00000007-BF3F-43A4-B953-054E6028043D}"/>
            </c:ext>
          </c:extLst>
        </c:ser>
        <c:dLbls>
          <c:showLegendKey val="0"/>
          <c:showVal val="0"/>
          <c:showCatName val="0"/>
          <c:showSerName val="0"/>
          <c:showPercent val="0"/>
          <c:showBubbleSize val="0"/>
        </c:dLbls>
        <c:marker val="1"/>
        <c:smooth val="0"/>
        <c:axId val="602748544"/>
        <c:axId val="602746576"/>
      </c:lineChart>
      <c:catAx>
        <c:axId val="602753464"/>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2753792"/>
        <c:crosses val="autoZero"/>
        <c:auto val="1"/>
        <c:lblAlgn val="ctr"/>
        <c:lblOffset val="100"/>
        <c:noMultiLvlLbl val="0"/>
      </c:catAx>
      <c:valAx>
        <c:axId val="602753792"/>
        <c:scaling>
          <c:orientation val="minMax"/>
          <c:max val="1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2753464"/>
        <c:crosses val="autoZero"/>
        <c:crossBetween val="between"/>
      </c:valAx>
      <c:valAx>
        <c:axId val="60274657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2748544"/>
        <c:crosses val="max"/>
        <c:crossBetween val="between"/>
      </c:valAx>
      <c:catAx>
        <c:axId val="602748544"/>
        <c:scaling>
          <c:orientation val="minMax"/>
        </c:scaling>
        <c:delete val="1"/>
        <c:axPos val="b"/>
        <c:majorTickMark val="out"/>
        <c:minorTickMark val="none"/>
        <c:tickLblPos val="nextTo"/>
        <c:crossAx val="60274657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Rolling Mean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 Repository Table'!$C$1</c:f>
              <c:strCache>
                <c:ptCount val="1"/>
                <c:pt idx="0">
                  <c:v>Volumetric Flow Meter 1</c:v>
                </c:pt>
              </c:strCache>
            </c:strRef>
          </c:tx>
          <c:spPr>
            <a:ln w="28575" cap="rnd">
              <a:solidFill>
                <a:schemeClr val="accent1"/>
              </a:solidFill>
              <a:round/>
            </a:ln>
            <a:effectLst/>
          </c:spPr>
          <c:marker>
            <c:symbol val="none"/>
          </c:marker>
          <c:val>
            <c:numRef>
              <c:f>'Data Repository Table'!$C$2455:$C$4907</c:f>
              <c:numCache>
                <c:formatCode>#,##0.00</c:formatCode>
                <c:ptCount val="2453"/>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pt idx="2452">
                  <c:v>43.28</c:v>
                </c:pt>
              </c:numCache>
            </c:numRef>
          </c:val>
          <c:smooth val="0"/>
          <c:extLst>
            <c:ext xmlns:c16="http://schemas.microsoft.com/office/drawing/2014/chart" uri="{C3380CC4-5D6E-409C-BE32-E72D297353CC}">
              <c16:uniqueId val="{00000000-ABD6-4B54-A55D-7255DF32543C}"/>
            </c:ext>
          </c:extLst>
        </c:ser>
        <c:ser>
          <c:idx val="1"/>
          <c:order val="1"/>
          <c:tx>
            <c:strRef>
              <c:f>'Data Repository Table'!$D$1</c:f>
              <c:strCache>
                <c:ptCount val="1"/>
                <c:pt idx="0">
                  <c:v>Volumetric Flow Meter 2</c:v>
                </c:pt>
              </c:strCache>
            </c:strRef>
          </c:tx>
          <c:spPr>
            <a:ln w="28575" cap="rnd">
              <a:solidFill>
                <a:schemeClr val="accent2"/>
              </a:solidFill>
              <a:round/>
            </a:ln>
            <a:effectLst/>
          </c:spPr>
          <c:marker>
            <c:symbol val="none"/>
          </c:marker>
          <c:val>
            <c:numRef>
              <c:f>'Data Repository Table'!$D$2455:$D$4907</c:f>
              <c:numCache>
                <c:formatCode>#,##0.00</c:formatCode>
                <c:ptCount val="2453"/>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pt idx="2452">
                  <c:v>41.96</c:v>
                </c:pt>
              </c:numCache>
            </c:numRef>
          </c:val>
          <c:smooth val="0"/>
          <c:extLst>
            <c:ext xmlns:c16="http://schemas.microsoft.com/office/drawing/2014/chart" uri="{C3380CC4-5D6E-409C-BE32-E72D297353CC}">
              <c16:uniqueId val="{00000001-ABD6-4B54-A55D-7255DF32543C}"/>
            </c:ext>
          </c:extLst>
        </c:ser>
        <c:ser>
          <c:idx val="2"/>
          <c:order val="2"/>
          <c:tx>
            <c:strRef>
              <c:f>'Data Repository Table'!$E$1</c:f>
              <c:strCache>
                <c:ptCount val="1"/>
                <c:pt idx="0">
                  <c:v>Pump Speed (RPM)</c:v>
                </c:pt>
              </c:strCache>
            </c:strRef>
          </c:tx>
          <c:spPr>
            <a:ln w="28575" cap="rnd">
              <a:solidFill>
                <a:schemeClr val="accent3"/>
              </a:solidFill>
              <a:round/>
            </a:ln>
            <a:effectLst/>
          </c:spPr>
          <c:marker>
            <c:symbol val="none"/>
          </c:marker>
          <c:val>
            <c:numRef>
              <c:f>'Data Repository Table'!$E$2455:$E$4907</c:f>
              <c:numCache>
                <c:formatCode>#,##0.00</c:formatCode>
                <c:ptCount val="2453"/>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pt idx="2452">
                  <c:v>90</c:v>
                </c:pt>
              </c:numCache>
            </c:numRef>
          </c:val>
          <c:smooth val="0"/>
          <c:extLst>
            <c:ext xmlns:c16="http://schemas.microsoft.com/office/drawing/2014/chart" uri="{C3380CC4-5D6E-409C-BE32-E72D297353CC}">
              <c16:uniqueId val="{00000002-ABD6-4B54-A55D-7255DF32543C}"/>
            </c:ext>
          </c:extLst>
        </c:ser>
        <c:ser>
          <c:idx val="3"/>
          <c:order val="3"/>
          <c:tx>
            <c:strRef>
              <c:f>'Data Repository Table'!$F$1</c:f>
              <c:strCache>
                <c:ptCount val="1"/>
                <c:pt idx="0">
                  <c:v>Pump Torque </c:v>
                </c:pt>
              </c:strCache>
            </c:strRef>
          </c:tx>
          <c:spPr>
            <a:ln w="28575" cap="rnd">
              <a:solidFill>
                <a:schemeClr val="accent4"/>
              </a:solidFill>
              <a:round/>
            </a:ln>
            <a:effectLst/>
          </c:spPr>
          <c:marker>
            <c:symbol val="none"/>
          </c:marker>
          <c:val>
            <c:numRef>
              <c:f>'Data Repository Table'!$F$2455:$F$4907</c:f>
              <c:numCache>
                <c:formatCode>#,##0.00</c:formatCode>
                <c:ptCount val="2453"/>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pt idx="2452">
                  <c:v>191</c:v>
                </c:pt>
              </c:numCache>
            </c:numRef>
          </c:val>
          <c:smooth val="0"/>
          <c:extLst>
            <c:ext xmlns:c16="http://schemas.microsoft.com/office/drawing/2014/chart" uri="{C3380CC4-5D6E-409C-BE32-E72D297353CC}">
              <c16:uniqueId val="{00000003-ABD6-4B54-A55D-7255DF32543C}"/>
            </c:ext>
          </c:extLst>
        </c:ser>
        <c:ser>
          <c:idx val="4"/>
          <c:order val="4"/>
          <c:tx>
            <c:strRef>
              <c:f>'Data Repository Table'!$G$1</c:f>
              <c:strCache>
                <c:ptCount val="1"/>
                <c:pt idx="0">
                  <c:v>Ambient Temperature</c:v>
                </c:pt>
              </c:strCache>
            </c:strRef>
          </c:tx>
          <c:spPr>
            <a:ln w="28575" cap="rnd">
              <a:solidFill>
                <a:schemeClr val="accent5"/>
              </a:solidFill>
              <a:round/>
            </a:ln>
            <a:effectLst/>
          </c:spPr>
          <c:marker>
            <c:symbol val="none"/>
          </c:marker>
          <c:val>
            <c:numRef>
              <c:f>'Data Repository Table'!$G$2455:$G$4907</c:f>
              <c:numCache>
                <c:formatCode>#,##0.00</c:formatCode>
                <c:ptCount val="2453"/>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pt idx="2452">
                  <c:v>54</c:v>
                </c:pt>
              </c:numCache>
            </c:numRef>
          </c:val>
          <c:smooth val="0"/>
          <c:extLst>
            <c:ext xmlns:c16="http://schemas.microsoft.com/office/drawing/2014/chart" uri="{C3380CC4-5D6E-409C-BE32-E72D297353CC}">
              <c16:uniqueId val="{00000004-ABD6-4B54-A55D-7255DF32543C}"/>
            </c:ext>
          </c:extLst>
        </c:ser>
        <c:ser>
          <c:idx val="6"/>
          <c:order val="6"/>
          <c:tx>
            <c:strRef>
              <c:f>'Data Repository Table'!$I$1</c:f>
              <c:strCache>
                <c:ptCount val="1"/>
                <c:pt idx="0">
                  <c:v>Pump Efficiency</c:v>
                </c:pt>
              </c:strCache>
            </c:strRef>
          </c:tx>
          <c:spPr>
            <a:ln w="28575" cap="rnd">
              <a:solidFill>
                <a:schemeClr val="accent1">
                  <a:lumMod val="60000"/>
                </a:schemeClr>
              </a:solidFill>
              <a:round/>
            </a:ln>
            <a:effectLst/>
          </c:spPr>
          <c:marker>
            <c:symbol val="none"/>
          </c:marker>
          <c:val>
            <c:numRef>
              <c:f>'Data Repository Table'!$I$2455:$I$4907</c:f>
              <c:numCache>
                <c:formatCode>#,##0.00</c:formatCode>
                <c:ptCount val="2453"/>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pt idx="2452">
                  <c:v>76.290909090909082</c:v>
                </c:pt>
              </c:numCache>
            </c:numRef>
          </c:val>
          <c:smooth val="0"/>
          <c:extLst>
            <c:ext xmlns:c16="http://schemas.microsoft.com/office/drawing/2014/chart" uri="{C3380CC4-5D6E-409C-BE32-E72D297353CC}">
              <c16:uniqueId val="{00000005-ABD6-4B54-A55D-7255DF32543C}"/>
            </c:ext>
          </c:extLst>
        </c:ser>
        <c:dLbls>
          <c:showLegendKey val="0"/>
          <c:showVal val="0"/>
          <c:showCatName val="0"/>
          <c:showSerName val="0"/>
          <c:showPercent val="0"/>
          <c:showBubbleSize val="0"/>
        </c:dLbls>
        <c:marker val="1"/>
        <c:smooth val="0"/>
        <c:axId val="556906216"/>
        <c:axId val="556906872"/>
      </c:lineChart>
      <c:lineChart>
        <c:grouping val="standard"/>
        <c:varyColors val="0"/>
        <c:ser>
          <c:idx val="5"/>
          <c:order val="5"/>
          <c:tx>
            <c:strRef>
              <c:f>'Data Repository Table'!$H$1</c:f>
              <c:strCache>
                <c:ptCount val="1"/>
                <c:pt idx="0">
                  <c:v>Horse Power</c:v>
                </c:pt>
              </c:strCache>
            </c:strRef>
          </c:tx>
          <c:spPr>
            <a:ln w="28575" cap="rnd">
              <a:solidFill>
                <a:schemeClr val="accent6"/>
              </a:solidFill>
              <a:round/>
            </a:ln>
            <a:effectLst/>
          </c:spPr>
          <c:marker>
            <c:symbol val="none"/>
          </c:marker>
          <c:val>
            <c:numRef>
              <c:f>'Data Repository Table'!$H$2455:$H$4907</c:f>
              <c:numCache>
                <c:formatCode>#,##0.00</c:formatCode>
                <c:ptCount val="2453"/>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pt idx="2452">
                  <c:v>3.2730388423457732</c:v>
                </c:pt>
              </c:numCache>
            </c:numRef>
          </c:val>
          <c:smooth val="0"/>
          <c:extLst>
            <c:ext xmlns:c16="http://schemas.microsoft.com/office/drawing/2014/chart" uri="{C3380CC4-5D6E-409C-BE32-E72D297353CC}">
              <c16:uniqueId val="{00000006-ABD6-4B54-A55D-7255DF32543C}"/>
            </c:ext>
          </c:extLst>
        </c:ser>
        <c:ser>
          <c:idx val="7"/>
          <c:order val="7"/>
          <c:tx>
            <c:strRef>
              <c:f>'Data Repository Table'!$J$1</c:f>
              <c:strCache>
                <c:ptCount val="1"/>
                <c:pt idx="0">
                  <c:v>PUMP FAILURE (1 or 0)</c:v>
                </c:pt>
              </c:strCache>
            </c:strRef>
          </c:tx>
          <c:spPr>
            <a:ln w="28575" cap="rnd">
              <a:solidFill>
                <a:schemeClr val="accent2">
                  <a:lumMod val="60000"/>
                </a:schemeClr>
              </a:solidFill>
              <a:round/>
            </a:ln>
            <a:effectLst/>
          </c:spPr>
          <c:marker>
            <c:symbol val="none"/>
          </c:marker>
          <c:val>
            <c:numRef>
              <c:f>'Data Repository Table'!$J$2455:$J$4907</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numCache>
            </c:numRef>
          </c:val>
          <c:smooth val="0"/>
          <c:extLst>
            <c:ext xmlns:c16="http://schemas.microsoft.com/office/drawing/2014/chart" uri="{C3380CC4-5D6E-409C-BE32-E72D297353CC}">
              <c16:uniqueId val="{00000007-ABD6-4B54-A55D-7255DF32543C}"/>
            </c:ext>
          </c:extLst>
        </c:ser>
        <c:dLbls>
          <c:showLegendKey val="0"/>
          <c:showVal val="0"/>
          <c:showCatName val="0"/>
          <c:showSerName val="0"/>
          <c:showPercent val="0"/>
          <c:showBubbleSize val="0"/>
        </c:dLbls>
        <c:marker val="1"/>
        <c:smooth val="0"/>
        <c:axId val="638575008"/>
        <c:axId val="638574352"/>
      </c:lineChart>
      <c:catAx>
        <c:axId val="55690621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6906872"/>
        <c:crosses val="autoZero"/>
        <c:auto val="1"/>
        <c:lblAlgn val="ctr"/>
        <c:lblOffset val="100"/>
        <c:noMultiLvlLbl val="0"/>
      </c:catAx>
      <c:valAx>
        <c:axId val="556906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6906216"/>
        <c:crosses val="autoZero"/>
        <c:crossBetween val="between"/>
      </c:valAx>
      <c:valAx>
        <c:axId val="63857435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8575008"/>
        <c:crosses val="max"/>
        <c:crossBetween val="between"/>
      </c:valAx>
      <c:catAx>
        <c:axId val="638575008"/>
        <c:scaling>
          <c:orientation val="minMax"/>
        </c:scaling>
        <c:delete val="1"/>
        <c:axPos val="b"/>
        <c:majorTickMark val="out"/>
        <c:minorTickMark val="none"/>
        <c:tickLblPos val="nextTo"/>
        <c:crossAx val="638574352"/>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Correlation</a:t>
            </a:r>
            <a:r>
              <a:rPr lang="en-AU" b="1" baseline="0"/>
              <a:t> Coefficient Pump Failure (Raw)</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99AABE"/>
            </a:solidFill>
            <a:ln>
              <a:noFill/>
            </a:ln>
            <a:effectLst/>
          </c:spPr>
          <c:invertIfNegative val="0"/>
          <c:dLbls>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7:$A$42</c:f>
              <c:strCache>
                <c:ptCount val="6"/>
                <c:pt idx="0">
                  <c:v>Horse Power</c:v>
                </c:pt>
                <c:pt idx="1">
                  <c:v>Pump Speed (RPM)</c:v>
                </c:pt>
                <c:pt idx="2">
                  <c:v>Pump Torque </c:v>
                </c:pt>
                <c:pt idx="3">
                  <c:v>Ambient Temperature</c:v>
                </c:pt>
                <c:pt idx="4">
                  <c:v>Volumetric Flow Meter 1</c:v>
                </c:pt>
                <c:pt idx="5">
                  <c:v>Pump Efficiency</c:v>
                </c:pt>
              </c:strCache>
            </c:strRef>
          </c:cat>
          <c:val>
            <c:numRef>
              <c:f>'Inferential Statistics'!$B$37:$B$42</c:f>
              <c:numCache>
                <c:formatCode>0.00</c:formatCode>
                <c:ptCount val="6"/>
                <c:pt idx="0">
                  <c:v>0.42184407404709412</c:v>
                </c:pt>
                <c:pt idx="1">
                  <c:v>0.26001606184661846</c:v>
                </c:pt>
                <c:pt idx="2">
                  <c:v>0.23319270601019931</c:v>
                </c:pt>
                <c:pt idx="3">
                  <c:v>0.20794584017208328</c:v>
                </c:pt>
                <c:pt idx="4">
                  <c:v>-0.10250831660615596</c:v>
                </c:pt>
                <c:pt idx="5">
                  <c:v>-0.10268435123641827</c:v>
                </c:pt>
              </c:numCache>
            </c:numRef>
          </c:val>
          <c:extLst>
            <c:ext xmlns:c16="http://schemas.microsoft.com/office/drawing/2014/chart" uri="{C3380CC4-5D6E-409C-BE32-E72D297353CC}">
              <c16:uniqueId val="{00000000-D1AD-47D1-B760-83AD3A42F303}"/>
            </c:ext>
          </c:extLst>
        </c:ser>
        <c:dLbls>
          <c:showLegendKey val="0"/>
          <c:showVal val="0"/>
          <c:showCatName val="0"/>
          <c:showSerName val="0"/>
          <c:showPercent val="0"/>
          <c:showBubbleSize val="0"/>
        </c:dLbls>
        <c:gapWidth val="219"/>
        <c:overlap val="-27"/>
        <c:axId val="644598320"/>
        <c:axId val="644599304"/>
      </c:barChart>
      <c:catAx>
        <c:axId val="6445983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4599304"/>
        <c:crosses val="autoZero"/>
        <c:auto val="1"/>
        <c:lblAlgn val="ctr"/>
        <c:lblOffset val="100"/>
        <c:noMultiLvlLbl val="0"/>
      </c:catAx>
      <c:valAx>
        <c:axId val="644599304"/>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4598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Correlation</a:t>
            </a:r>
            <a:r>
              <a:rPr lang="en-AU" b="1" baseline="0"/>
              <a:t> Coefficient Pump Failure (Rolling Mean)</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7:$M$42</c:f>
              <c:strCache>
                <c:ptCount val="6"/>
                <c:pt idx="0">
                  <c:v>Horse Power</c:v>
                </c:pt>
                <c:pt idx="1">
                  <c:v>Pump Speed (RPM)</c:v>
                </c:pt>
                <c:pt idx="2">
                  <c:v>Pump Torque </c:v>
                </c:pt>
                <c:pt idx="3">
                  <c:v>Ambient Temperature</c:v>
                </c:pt>
                <c:pt idx="4">
                  <c:v>Volumetric Flow Meter 1</c:v>
                </c:pt>
                <c:pt idx="5">
                  <c:v>Pump Efficiency</c:v>
                </c:pt>
              </c:strCache>
            </c:strRef>
          </c:cat>
          <c:val>
            <c:numRef>
              <c:f>'Inferential Statistics'!$N$37:$N$42</c:f>
              <c:numCache>
                <c:formatCode>0.00</c:formatCode>
                <c:ptCount val="6"/>
                <c:pt idx="0">
                  <c:v>0.21805064054009471</c:v>
                </c:pt>
                <c:pt idx="1">
                  <c:v>-0.18415962170921643</c:v>
                </c:pt>
                <c:pt idx="2">
                  <c:v>-0.2159374408882955</c:v>
                </c:pt>
                <c:pt idx="3">
                  <c:v>-0.30261553525837848</c:v>
                </c:pt>
                <c:pt idx="4">
                  <c:v>-0.69242513840191577</c:v>
                </c:pt>
                <c:pt idx="5">
                  <c:v>-0.69502783073051644</c:v>
                </c:pt>
              </c:numCache>
            </c:numRef>
          </c:val>
          <c:extLst>
            <c:ext xmlns:c16="http://schemas.microsoft.com/office/drawing/2014/chart" uri="{C3380CC4-5D6E-409C-BE32-E72D297353CC}">
              <c16:uniqueId val="{00000000-8238-4298-87F1-07D5E05B29B2}"/>
            </c:ext>
          </c:extLst>
        </c:ser>
        <c:dLbls>
          <c:showLegendKey val="0"/>
          <c:showVal val="0"/>
          <c:showCatName val="0"/>
          <c:showSerName val="0"/>
          <c:showPercent val="0"/>
          <c:showBubbleSize val="0"/>
        </c:dLbls>
        <c:gapWidth val="219"/>
        <c:overlap val="-27"/>
        <c:axId val="531806808"/>
        <c:axId val="531806480"/>
      </c:barChart>
      <c:catAx>
        <c:axId val="5318068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06480"/>
        <c:crosses val="autoZero"/>
        <c:auto val="1"/>
        <c:lblAlgn val="ctr"/>
        <c:lblOffset val="100"/>
        <c:noMultiLvlLbl val="0"/>
      </c:catAx>
      <c:valAx>
        <c:axId val="531806480"/>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06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Correlation Coefficient Pump Failure (Rolling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7:$W$42</c:f>
              <c:strCache>
                <c:ptCount val="6"/>
                <c:pt idx="0">
                  <c:v>Horse Power</c:v>
                </c:pt>
                <c:pt idx="1">
                  <c:v>Volumetric Flow Meter 1</c:v>
                </c:pt>
                <c:pt idx="2">
                  <c:v>Pump Efficiency</c:v>
                </c:pt>
                <c:pt idx="3">
                  <c:v>Volumetric Flow Meter 2</c:v>
                </c:pt>
                <c:pt idx="4">
                  <c:v>Pump Speed (RPM)</c:v>
                </c:pt>
                <c:pt idx="5">
                  <c:v>Ambient Temperature</c:v>
                </c:pt>
              </c:strCache>
            </c:strRef>
          </c:cat>
          <c:val>
            <c:numRef>
              <c:f>'Inferential Statistics'!$X$37:$X$42</c:f>
              <c:numCache>
                <c:formatCode>0.00</c:formatCode>
                <c:ptCount val="6"/>
                <c:pt idx="0">
                  <c:v>0.7018387356941358</c:v>
                </c:pt>
                <c:pt idx="1">
                  <c:v>0.65724651759557451</c:v>
                </c:pt>
                <c:pt idx="2">
                  <c:v>0.65607910964756189</c:v>
                </c:pt>
                <c:pt idx="3">
                  <c:v>0.63945057966693064</c:v>
                </c:pt>
                <c:pt idx="4">
                  <c:v>0.63884934780605385</c:v>
                </c:pt>
                <c:pt idx="5">
                  <c:v>0.61541470456003278</c:v>
                </c:pt>
              </c:numCache>
            </c:numRef>
          </c:val>
          <c:extLst>
            <c:ext xmlns:c16="http://schemas.microsoft.com/office/drawing/2014/chart" uri="{C3380CC4-5D6E-409C-BE32-E72D297353CC}">
              <c16:uniqueId val="{00000000-B482-45E3-859D-F6AC297E80BE}"/>
            </c:ext>
          </c:extLst>
        </c:ser>
        <c:dLbls>
          <c:showLegendKey val="0"/>
          <c:showVal val="0"/>
          <c:showCatName val="0"/>
          <c:showSerName val="0"/>
          <c:showPercent val="0"/>
          <c:showBubbleSize val="0"/>
        </c:dLbls>
        <c:gapWidth val="219"/>
        <c:overlap val="-27"/>
        <c:axId val="636080216"/>
        <c:axId val="636090056"/>
      </c:barChart>
      <c:catAx>
        <c:axId val="636080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6090056"/>
        <c:crosses val="autoZero"/>
        <c:auto val="1"/>
        <c:lblAlgn val="ctr"/>
        <c:lblOffset val="100"/>
        <c:noMultiLvlLbl val="0"/>
      </c:catAx>
      <c:valAx>
        <c:axId val="63609005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6080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a:t>Coefficient Rank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99AABE"/>
            </a:solidFill>
            <a:ln>
              <a:noFill/>
            </a:ln>
            <a:effectLst/>
          </c:spPr>
          <c:invertIfNegative val="0"/>
          <c:dLbls>
            <c:numFmt formatCode="#,##0.00" sourceLinked="0"/>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L$160:$L$167</c:f>
              <c:strCache>
                <c:ptCount val="8"/>
                <c:pt idx="0">
                  <c:v>Horse Power</c:v>
                </c:pt>
                <c:pt idx="1">
                  <c:v>Pump Efficiency</c:v>
                </c:pt>
                <c:pt idx="2">
                  <c:v>Volumetric Flow Meter 1</c:v>
                </c:pt>
                <c:pt idx="3">
                  <c:v>Ambient Temperature</c:v>
                </c:pt>
                <c:pt idx="4">
                  <c:v>Pump Speed (RPM)</c:v>
                </c:pt>
                <c:pt idx="5">
                  <c:v>Pump Torque </c:v>
                </c:pt>
                <c:pt idx="6">
                  <c:v>Intercept</c:v>
                </c:pt>
                <c:pt idx="7">
                  <c:v>Volumetric Flow Meter 2</c:v>
                </c:pt>
              </c:strCache>
            </c:strRef>
          </c:cat>
          <c:val>
            <c:numRef>
              <c:f>'Inferential Statistics'!$M$160:$M$167</c:f>
              <c:numCache>
                <c:formatCode>General</c:formatCode>
                <c:ptCount val="8"/>
                <c:pt idx="0">
                  <c:v>0.76484538773206445</c:v>
                </c:pt>
                <c:pt idx="1">
                  <c:v>0.34236588972424131</c:v>
                </c:pt>
                <c:pt idx="2">
                  <c:v>5.0933943927024217E-2</c:v>
                </c:pt>
                <c:pt idx="3">
                  <c:v>1.8206887296729E-2</c:v>
                </c:pt>
                <c:pt idx="4">
                  <c:v>-1.7867336051636543E-2</c:v>
                </c:pt>
                <c:pt idx="5">
                  <c:v>-1.8901994708885334E-2</c:v>
                </c:pt>
                <c:pt idx="6">
                  <c:v>-3.5779667450833275E-2</c:v>
                </c:pt>
                <c:pt idx="7">
                  <c:v>-0.61136432959094578</c:v>
                </c:pt>
              </c:numCache>
            </c:numRef>
          </c:val>
          <c:extLst>
            <c:ext xmlns:c16="http://schemas.microsoft.com/office/drawing/2014/chart" uri="{C3380CC4-5D6E-409C-BE32-E72D297353CC}">
              <c16:uniqueId val="{00000000-3972-41AF-A443-42459CF724A4}"/>
            </c:ext>
          </c:extLst>
        </c:ser>
        <c:dLbls>
          <c:showLegendKey val="0"/>
          <c:showVal val="0"/>
          <c:showCatName val="0"/>
          <c:showSerName val="0"/>
          <c:showPercent val="0"/>
          <c:showBubbleSize val="0"/>
        </c:dLbls>
        <c:gapWidth val="219"/>
        <c:overlap val="-27"/>
        <c:axId val="397652152"/>
        <c:axId val="397650512"/>
      </c:barChart>
      <c:catAx>
        <c:axId val="3976521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97650512"/>
        <c:crosses val="autoZero"/>
        <c:auto val="1"/>
        <c:lblAlgn val="ctr"/>
        <c:lblOffset val="100"/>
        <c:noMultiLvlLbl val="0"/>
      </c:catAx>
      <c:valAx>
        <c:axId val="3976505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652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BOX PLOT 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a:solidFill>
                <a:sysClr val="windowText" lastClr="000000">
                  <a:lumMod val="65000"/>
                  <a:lumOff val="35000"/>
                </a:sysClr>
              </a:solidFill>
              <a:latin typeface="Calibri" panose="020F0502020204030204"/>
            </a:rPr>
            <a:t>BOX PLOT 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BOXPLOT 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BOXPLOT 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2455:$C$4875</cx:f>
        <cx:lvl ptCount="242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39.913870967741936</cx:pt>
          <cx:pt idx="2254">40.062258064516129</cx:pt>
          <cx:pt idx="2255">40.114838709677414</cx:pt>
          <cx:pt idx="2256">40.329354838709669</cx:pt>
          <cx:pt idx="2257">40.317419354838705</cx:pt>
          <cx:pt idx="2258">40.364193548387092</cx:pt>
          <cx:pt idx="2259">40.219999999999999</cx:pt>
          <cx:pt idx="2260">39.964193548387101</cx:pt>
          <cx:pt idx="2261">39.702258064516137</cx:pt>
          <cx:pt idx="2262">39.594838709677425</cx:pt>
          <cx:pt idx="2263">39.562258064516136</cx:pt>
          <cx:pt idx="2264">39.539999999999999</cx:pt>
          <cx:pt idx="2265">39.509032258064515</cx:pt>
          <cx:pt idx="2266">39.207096774193552</cx:pt>
          <cx:pt idx="2267">39.008387096774186</cx:pt>
          <cx:pt idx="2268">38.766129032258057</cx:pt>
          <cx:pt idx="2269">38.671935483870968</cx:pt>
          <cx:pt idx="2270">38.686129032258059</cx:pt>
          <cx:pt idx="2271">38.656774193548387</cx:pt>
          <cx:pt idx="2272">38.531612903225806</cx:pt>
          <cx:pt idx="2273">38.483225806451607</cx:pt>
          <cx:pt idx="2274">38.206451612903216</cx:pt>
          <cx:pt idx="2275">36.960645161290316</cx:pt>
          <cx:pt idx="2276">35.497096774193544</cx:pt>
          <cx:pt idx="2277">34.36677419354838</cx:pt>
          <cx:pt idx="2278">33.237419354838707</cx:pt>
          <cx:pt idx="2279">32.027419354838713</cx:pt>
          <cx:pt idx="2280">30.880967741935489</cx:pt>
          <cx:pt idx="2281">29.557419354838718</cx:pt>
          <cx:pt idx="2282">28.381935483870972</cx:pt>
          <cx:pt idx="2283">27.249032258064521</cx:pt>
          <cx:pt idx="2284">25.935161290322579</cx:pt>
          <cx:pt idx="2285">24.615161290322582</cx:pt>
          <cx:pt idx="2286">23.140645161290323</cx:pt>
          <cx:pt idx="2287">21.673225806451615</cx:pt>
          <cx:pt idx="2288">20.223870967741938</cx:pt>
          <cx:pt idx="2289">18.884193548387099</cx:pt>
          <cx:pt idx="2290">17.684838709677418</cx:pt>
          <cx:pt idx="2291">17.801935483870967</cx:pt>
          <cx:pt idx="2292">17.957096774193552</cx:pt>
          <cx:pt idx="2293">18.107741935483872</cx:pt>
          <cx:pt idx="2294">18.297741935483867</cx:pt>
          <cx:pt idx="2295">18.507096774193549</cx:pt>
          <cx:pt idx="2296">18.764193548387098</cx:pt>
          <cx:pt idx="2297">18.919032258064515</cx:pt>
          <cx:pt idx="2298">19.112580645161291</cx:pt>
          <cx:pt idx="2299">19.274193548387096</cx:pt>
          <cx:pt idx="2300">19.47258064516129</cx:pt>
          <cx:pt idx="2301">19.545483870967736</cx:pt>
          <cx:pt idx="2302">19.804516129032258</cx:pt>
          <cx:pt idx="2303">19.907419354838709</cx:pt>
          <cx:pt idx="2304">20.160322580645161</cx:pt>
          <cx:pt idx="2305">20.336129032258068</cx:pt>
          <cx:pt idx="2306">21.72129032258065</cx:pt>
          <cx:pt idx="2307">23.081935483870971</cx:pt>
          <cx:pt idx="2308">24.372580645161293</cx:pt>
          <cx:pt idx="2309">25.719677419354841</cx:pt>
          <cx:pt idx="2310">27.02741935483871</cx:pt>
          <cx:pt idx="2311">28.379354838709677</cx:pt>
          <cx:pt idx="2312">29.698709677419355</cx:pt>
          <cx:pt idx="2313">31.054838709677416</cx:pt>
          <cx:pt idx="2314">32.361290322580643</cx:pt>
          <cx:pt idx="2315">33.670645161290324</cx:pt>
          <cx:pt idx="2316">35.034516129032255</cx:pt>
          <cx:pt idx="2317">36.404193548387099</cx:pt>
          <cx:pt idx="2318">37.707096774193552</cx:pt>
          <cx:pt idx="2319">39.032580645161289</cx:pt>
          <cx:pt idx="2320">40.373548387096768</cx:pt>
          <cx:pt idx="2321">41.692580645161293</cx:pt>
          <cx:pt idx="2322">41.715483870967738</cx:pt>
          <cx:pt idx="2323">41.707419354838706</cx:pt>
          <cx:pt idx="2324">41.664193548387097</cx:pt>
          <cx:pt idx="2325">41.673225806451605</cx:pt>
          <cx:pt idx="2326">41.670967741935485</cx:pt>
          <cx:pt idx="2327">41.647419354838711</cx:pt>
          <cx:pt idx="2328">41.722258064516126</cx:pt>
          <cx:pt idx="2329">41.697741935483869</cx:pt>
          <cx:pt idx="2330">41.651935483870965</cx:pt>
          <cx:pt idx="2331">41.653548387096777</cx:pt>
          <cx:pt idx="2332">41.687419354838717</cx:pt>
          <cx:pt idx="2333">41.592903225806445</cx:pt>
          <cx:pt idx="2334">41.647419354838711</cx:pt>
          <cx:pt idx="2335">41.537419354838704</cx:pt>
          <cx:pt idx="2336">41.459354838709672</cx:pt>
          <cx:pt idx="2337">41.446129032258057</cx:pt>
          <cx:pt idx="2338">41.501612903225798</cx:pt>
          <cx:pt idx="2339">41.517096774193547</cx:pt>
          <cx:pt idx="2340">41.490967741935485</cx:pt>
          <cx:pt idx="2341">41.520322580645171</cx:pt>
          <cx:pt idx="2342">41.549354838709682</cx:pt>
          <cx:pt idx="2343">41.64806451612904</cx:pt>
          <cx:pt idx="2344">41.644193548387108</cx:pt>
          <cx:pt idx="2345">41.69161290322581</cx:pt>
          <cx:pt idx="2346">41.758064516129039</cx:pt>
          <cx:pt idx="2347">41.811290322580653</cx:pt>
          <cx:pt idx="2348">41.78161290322582</cx:pt>
          <cx:pt idx="2349">41.882258064516144</cx:pt>
          <cx:pt idx="2350">41.95419354838711</cx:pt>
          <cx:pt idx="2351">42.01903225806452</cx:pt>
          <cx:pt idx="2352">42.095161290322572</cx:pt>
          <cx:pt idx="2353">42.077096774193549</cx:pt>
          <cx:pt idx="2354">42.039032258064516</cx:pt>
          <cx:pt idx="2355">42.13645161290323</cx:pt>
          <cx:pt idx="2356">42.023870967741928</cx:pt>
          <cx:pt idx="2357">42.028064516129028</cx:pt>
          <cx:pt idx="2358">41.955161290322586</cx:pt>
          <cx:pt idx="2359">41.943225806451615</cx:pt>
          <cx:pt idx="2360">42.015806451612903</cx:pt>
          <cx:pt idx="2361">42.025161290322572</cx:pt>
          <cx:pt idx="2362">41.922258064516129</cx:pt>
          <cx:pt idx="2363">41.976451612903219</cx:pt>
          <cx:pt idx="2364">41.990645161290317</cx:pt>
          <cx:pt idx="2365">42.025806451612894</cx:pt>
          <cx:pt idx="2366">42.108709677419348</cx:pt>
          <cx:pt idx="2367">42.144838709677423</cx:pt>
          <cx:pt idx="2368">42.167096774193553</cx:pt>
          <cx:pt idx="2369">42.097096774193545</cx:pt>
          <cx:pt idx="2370">42.084193548387091</cx:pt>
          <cx:pt idx="2371">42.120645161290312</cx:pt>
          <cx:pt idx="2372">42.086451612903225</cx:pt>
          <cx:pt idx="2373">42.077419354838703</cx:pt>
          <cx:pt idx="2374">42.072580645161281</cx:pt>
          <cx:pt idx="2375">42.100645161290316</cx:pt>
          <cx:pt idx="2376">42.058064516129029</cx:pt>
          <cx:pt idx="2377">42.013870967741944</cx:pt>
          <cx:pt idx="2378">41.948387096774205</cx:pt>
          <cx:pt idx="2379">41.96806451612904</cx:pt>
          <cx:pt idx="2380">41.934838709677436</cx:pt>
          <cx:pt idx="2381">41.906129032258079</cx:pt>
          <cx:pt idx="2382">41.8325806451613</cx:pt>
          <cx:pt idx="2383">41.759677419354851</cx:pt>
          <cx:pt idx="2384">41.772258064516137</cx:pt>
          <cx:pt idx="2385">41.843548387096781</cx:pt>
          <cx:pt idx="2386">41.822903225806449</cx:pt>
          <cx:pt idx="2387">41.938387096774193</cx:pt>
          <cx:pt idx="2388">42.013225806451608</cx:pt>
          <cx:pt idx="2389">42.108709677419348</cx:pt>
          <cx:pt idx="2390">42.09225806451613</cx:pt>
          <cx:pt idx="2391">42.103225806451604</cx:pt>
          <cx:pt idx="2392">42.201612903225808</cx:pt>
          <cx:pt idx="2393">42.205161290322586</cx:pt>
          <cx:pt idx="2394">42.168709677419358</cx:pt>
          <cx:pt idx="2395">42.16935483870968</cx:pt>
          <cx:pt idx="2396">42.142903225806457</cx:pt>
          <cx:pt idx="2397">42.063870967741941</cx:pt>
          <cx:pt idx="2398">42.112580645161309</cx:pt>
          <cx:pt idx="2399">42.045806451612911</cx:pt>
          <cx:pt idx="2400">42.0741935483871</cx:pt>
          <cx:pt idx="2401">42.115161290322582</cx:pt>
          <cx:pt idx="2402">42.128064516129037</cx:pt>
          <cx:pt idx="2403">42.18</cx:pt>
          <cx:pt idx="2404">42.225483870967743</cx:pt>
          <cx:pt idx="2405">42.199999999999996</cx:pt>
          <cx:pt idx="2406">42.157096774193548</cx:pt>
          <cx:pt idx="2407">42.237419354838714</cx:pt>
          <cx:pt idx="2408">42.22870967741936</cx:pt>
          <cx:pt idx="2409">42.22774193548387</cx:pt>
          <cx:pt idx="2410">42.206451612903223</cx:pt>
          <cx:pt idx="2411">42.22774193548387</cx:pt>
          <cx:pt idx="2412">42.215806451612906</cx:pt>
          <cx:pt idx="2413">42.279677419354833</cx:pt>
          <cx:pt idx="2414">42.329677419354837</cx:pt>
          <cx:pt idx="2415">42.325806451612898</cx:pt>
          <cx:pt idx="2416">42.272903225806445</cx:pt>
          <cx:pt idx="2417">42.254516129032254</cx:pt>
          <cx:pt idx="2418">42.160322580645158</cx:pt>
          <cx:pt idx="2419">42.075483870967737</cx:pt>
          <cx:pt idx="2420">41.971612903225804</cx:pt>
        </cx:lvl>
      </cx:numDim>
    </cx:data>
    <cx:data id="1">
      <cx:numDim type="val">
        <cx:f>'Data Repository Table'!$D$2455:$D$4875</cx:f>
        <cx:lvl ptCount="242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40.378064516129037</cx:pt>
          <cx:pt idx="2254">40.417096774193546</cx:pt>
          <cx:pt idx="2255">40.458387096774196</cx:pt>
          <cx:pt idx="2256">40.631290322580654</cx:pt>
          <cx:pt idx="2257">40.317419354838712</cx:pt>
          <cx:pt idx="2258">40.222258064516133</cx:pt>
          <cx:pt idx="2259">40.155161290322589</cx:pt>
          <cx:pt idx="2260">40.021612903225801</cx:pt>
          <cx:pt idx="2261">39.927096774193544</cx:pt>
          <cx:pt idx="2262">39.772580645161284</cx:pt>
          <cx:pt idx="2263">39.548387096774185</cx:pt>
          <cx:pt idx="2264">39.289677419354831</cx:pt>
          <cx:pt idx="2265">38.940967741935481</cx:pt>
          <cx:pt idx="2266">38.942580645161286</cx:pt>
          <cx:pt idx="2267">38.714516129032255</cx:pt>
          <cx:pt idx="2268">38.662580645161292</cx:pt>
          <cx:pt idx="2269">38.505483870967744</cx:pt>
          <cx:pt idx="2270">38.504838709677422</cx:pt>
          <cx:pt idx="2271">38.539032258064523</cx:pt>
          <cx:pt idx="2272">38.372580645161285</cx:pt>
          <cx:pt idx="2273">38.285161290322577</cx:pt>
          <cx:pt idx="2274">38.171290322580646</cx:pt>
          <cx:pt idx="2275">36.985806451612902</cx:pt>
          <cx:pt idx="2276">35.563870967741934</cx:pt>
          <cx:pt idx="2277">34.410000000000004</cx:pt>
          <cx:pt idx="2278">33.206129032258069</cx:pt>
          <cx:pt idx="2279">31.753225806451614</cx:pt>
          <cx:pt idx="2280">30.397419354838711</cx:pt>
          <cx:pt idx="2281">29.000322580645165</cx:pt>
          <cx:pt idx="2282">27.675483870967739</cx:pt>
          <cx:pt idx="2283">26.269354838709678</cx:pt>
          <cx:pt idx="2284">25.062903225806448</cx:pt>
          <cx:pt idx="2285">23.877096774193546</cx:pt>
          <cx:pt idx="2286">22.622580645161285</cx:pt>
          <cx:pt idx="2287">21.262258064516129</cx:pt>
          <cx:pt idx="2288">20.105483870967738</cx:pt>
          <cx:pt idx="2289">18.894516129032255</cx:pt>
          <cx:pt idx="2290">17.719677419354838</cx:pt>
          <cx:pt idx="2291">17.88967741935484</cx:pt>
          <cx:pt idx="2292">18.09225806451613</cx:pt>
          <cx:pt idx="2293">18.239032258064519</cx:pt>
          <cx:pt idx="2294">18.373870967741937</cx:pt>
          <cx:pt idx="2295">18.58258064516129</cx:pt>
          <cx:pt idx="2296">18.758709677419354</cx:pt>
          <cx:pt idx="2297">18.963225806451611</cx:pt>
          <cx:pt idx="2298">19.083548387096776</cx:pt>
          <cx:pt idx="2299">19.273548387096771</cx:pt>
          <cx:pt idx="2300">19.472258064516129</cx:pt>
          <cx:pt idx="2301">19.59225806451613</cx:pt>
          <cx:pt idx="2302">19.80290322580645</cx:pt>
          <cx:pt idx="2303">20.085161290322585</cx:pt>
          <cx:pt idx="2304">20.3441935483871</cx:pt>
          <cx:pt idx="2305">20.468709677419358</cx:pt>
          <cx:pt idx="2306">21.79451612903226</cx:pt>
          <cx:pt idx="2307">23.162903225806453</cx:pt>
          <cx:pt idx="2308">24.495161290322581</cx:pt>
          <cx:pt idx="2309">25.825483870967744</cx:pt>
          <cx:pt idx="2310">27.183548387096774</cx:pt>
          <cx:pt idx="2311">28.497419354838712</cx:pt>
          <cx:pt idx="2312">29.837741935483873</cx:pt>
          <cx:pt idx="2313">31.203225806451616</cx:pt>
          <cx:pt idx="2314">32.588387096774191</cx:pt>
          <cx:pt idx="2315">33.889032258064518</cx:pt>
          <cx:pt idx="2316">35.196774193548386</cx:pt>
          <cx:pt idx="2317">36.489999999999995</cx:pt>
          <cx:pt idx="2318">37.823225806451603</cx:pt>
          <cx:pt idx="2319">39.203548387096767</cx:pt>
          <cx:pt idx="2320">40.581935483870957</cx:pt>
          <cx:pt idx="2321">41.951935483870962</cx:pt>
          <cx:pt idx="2322">41.951612903225808</cx:pt>
          <cx:pt idx="2323">41.89290322580645</cx:pt>
          <cx:pt idx="2324">41.876129032258056</cx:pt>
          <cx:pt idx="2325">41.894516129032262</cx:pt>
          <cx:pt idx="2326">41.908709677419353</cx:pt>
          <cx:pt idx="2327">42.003870967741932</cx:pt>
          <cx:pt idx="2328">41.967419354838718</cx:pt>
          <cx:pt idx="2329">42.052580645161292</cx:pt>
          <cx:pt idx="2330">42.129354838709695</cx:pt>
          <cx:pt idx="2331">42.15548387096775</cx:pt>
          <cx:pt idx="2332">42.189354838709683</cx:pt>
          <cx:pt idx="2333">42.170000000000009</cx:pt>
          <cx:pt idx="2334">42.100645161290331</cx:pt>
          <cx:pt idx="2335">42.013870967741944</cx:pt>
          <cx:pt idx="2336">41.98612903225807</cx:pt>
          <cx:pt idx="2337">41.981290322580648</cx:pt>
          <cx:pt idx="2338">42.026129032258069</cx:pt>
          <cx:pt idx="2339">41.989354838709687</cx:pt>
          <cx:pt idx="2340">41.956129032258076</cx:pt>
          <cx:pt idx="2341">41.952903225806459</cx:pt>
          <cx:pt idx="2342">41.937741935483878</cx:pt>
          <cx:pt idx="2343">41.981612903225809</cx:pt>
          <cx:pt idx="2344">41.917741935483875</cx:pt>
          <cx:pt idx="2345">41.862580645161287</cx:pt>
          <cx:pt idx="2346">41.95870967741935</cx:pt>
          <cx:pt idx="2347">41.994516129032263</cx:pt>
          <cx:pt idx="2348">41.997419354838712</cx:pt>
          <cx:pt idx="2349">42.006129032258059</cx:pt>
          <cx:pt idx="2350">41.998387096774188</cx:pt>
          <cx:pt idx="2351">42.006129032258059</cx:pt>
          <cx:pt idx="2352">42.022903225806459</cx:pt>
          <cx:pt idx="2353">42.030322580645155</cx:pt>
          <cx:pt idx="2354">42.096129032258055</cx:pt>
          <cx:pt idx="2355">42.149999999999999</cx:pt>
          <cx:pt idx="2356">42.148064516129033</cx:pt>
          <cx:pt idx="2357">42.07870967741934</cx:pt>
          <cx:pt idx="2358">42.094838709677411</cx:pt>
          <cx:pt idx="2359">42.062258064516122</cx:pt>
          <cx:pt idx="2360">42.021612903225808</cx:pt>
          <cx:pt idx="2361">41.910000000000004</cx:pt>
          <cx:pt idx="2362">41.808064516129036</cx:pt>
          <cx:pt idx="2363">41.784838709677423</cx:pt>
          <cx:pt idx="2364">41.771290322580647</cx:pt>
          <cx:pt idx="2365">41.729354838709682</cx:pt>
          <cx:pt idx="2366">41.740000000000002</cx:pt>
          <cx:pt idx="2367">41.762258064516132</cx:pt>
          <cx:pt idx="2368">41.758709677419354</cx:pt>
          <cx:pt idx="2369">41.756451612903227</cx:pt>
          <cx:pt idx="2370">41.755806451612898</cx:pt>
          <cx:pt idx="2371">41.848387096774182</cx:pt>
          <cx:pt idx="2372">41.801612903225802</cx:pt>
          <cx:pt idx="2373">41.814193548387095</cx:pt>
          <cx:pt idx="2374">41.7541935483871</cx:pt>
          <cx:pt idx="2375">41.846129032258062</cx:pt>
          <cx:pt idx="2376">41.927096774193551</cx:pt>
          <cx:pt idx="2377">41.90225806451614</cx:pt>
          <cx:pt idx="2378">41.858387096774194</cx:pt>
          <cx:pt idx="2379">41.857741935483872</cx:pt>
          <cx:pt idx="2380">41.822903225806449</cx:pt>
          <cx:pt idx="2381">41.789354838709677</cx:pt>
          <cx:pt idx="2382">41.783870967741933</cx:pt>
          <cx:pt idx="2383">41.700000000000003</cx:pt>
          <cx:pt idx="2384">41.671612903225814</cx:pt>
          <cx:pt idx="2385">41.643548387096779</cx:pt>
          <cx:pt idx="2386">41.67032258064517</cx:pt>
          <cx:pt idx="2387">41.623870967741944</cx:pt>
          <cx:pt idx="2388">41.604193548387101</cx:pt>
          <cx:pt idx="2389">41.564838709677417</cx:pt>
          <cx:pt idx="2390">41.537419354838711</cx:pt>
          <cx:pt idx="2391">41.557096774193539</cx:pt>
          <cx:pt idx="2392">41.598387096774189</cx:pt>
          <cx:pt idx="2393">41.629354838709666</cx:pt>
          <cx:pt idx="2394">41.629999999999988</cx:pt>
          <cx:pt idx="2395">41.621290322580641</cx:pt>
          <cx:pt idx="2396">41.729999999999997</cx:pt>
          <cx:pt idx="2397">41.733548387096775</cx:pt>
          <cx:pt idx="2398">41.781935483870967</cx:pt>
          <cx:pt idx="2399">41.851935483870967</cx:pt>
          <cx:pt idx="2400">41.852258064516136</cx:pt>
          <cx:pt idx="2401">41.906774193548401</cx:pt>
          <cx:pt idx="2402">41.920967741935485</cx:pt>
          <cx:pt idx="2403">41.967741935483872</cx:pt>
          <cx:pt idx="2404">42.000322580645161</cx:pt>
          <cx:pt idx="2405">42.028387096774203</cx:pt>
          <cx:pt idx="2406">41.958709677419357</cx:pt>
          <cx:pt idx="2407">41.862903225806456</cx:pt>
          <cx:pt idx="2408">41.832903225806454</cx:pt>
          <cx:pt idx="2409">41.855806451612906</cx:pt>
          <cx:pt idx="2410">41.918064516129036</cx:pt>
          <cx:pt idx="2411">42.004838709677415</cx:pt>
          <cx:pt idx="2412">41.983870967741929</cx:pt>
          <cx:pt idx="2413">41.965806451612899</cx:pt>
          <cx:pt idx="2414">42.033225806451604</cx:pt>
          <cx:pt idx="2415">42.035483870967731</cx:pt>
          <cx:pt idx="2416">42.046129032258058</cx:pt>
          <cx:pt idx="2417">42.035806451612899</cx:pt>
          <cx:pt idx="2418">42.048387096774185</cx:pt>
          <cx:pt idx="2419">42.108064516129026</cx:pt>
          <cx:pt idx="2420">42.042258064516126</cx:pt>
        </cx:lvl>
      </cx:numDim>
    </cx:data>
    <cx:data id="2">
      <cx:numDim type="val">
        <cx:f>'Data Repository Table'!$E$2455:$E$4875</cx:f>
        <cx:lvl ptCount="242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105.87096774193549</cx:pt>
          <cx:pt idx="2254">105.61290322580645</cx:pt>
          <cx:pt idx="2255">105.61290322580645</cx:pt>
          <cx:pt idx="2256">105.45161290322581</cx:pt>
          <cx:pt idx="2257">105.45161290322581</cx:pt>
          <cx:pt idx="2258">105.41935483870968</cx:pt>
          <cx:pt idx="2259">105.19354838709677</cx:pt>
          <cx:pt idx="2260">105.3225806451613</cx:pt>
          <cx:pt idx="2261">105.61290322580645</cx:pt>
          <cx:pt idx="2262">105.80645161290323</cx:pt>
          <cx:pt idx="2263">105.80645161290323</cx:pt>
          <cx:pt idx="2264">106.16129032258064</cx:pt>
          <cx:pt idx="2265">106.51612903225806</cx:pt>
          <cx:pt idx="2266">106.90322580645162</cx:pt>
          <cx:pt idx="2267">107.2258064516129</cx:pt>
          <cx:pt idx="2268">107.54838709677419</cx:pt>
          <cx:pt idx="2269">107.87096774193549</cx:pt>
          <cx:pt idx="2270">108.25806451612904</cx:pt>
          <cx:pt idx="2271">108.90322580645162</cx:pt>
          <cx:pt idx="2272">109.2258064516129</cx:pt>
          <cx:pt idx="2273">109.93548387096774</cx:pt>
          <cx:pt idx="2274">110.54838709677419</cx:pt>
          <cx:pt idx="2275">107.2258064516129</cx:pt>
          <cx:pt idx="2276">103.51612903225806</cx:pt>
          <cx:pt idx="2277">100.29032258064517</cx:pt>
          <cx:pt idx="2278">96.612903225806448</cx:pt>
          <cx:pt idx="2279">93.354838709677423</cx:pt>
          <cx:pt idx="2280">90</cx:pt>
          <cx:pt idx="2281">86.709677419354833</cx:pt>
          <cx:pt idx="2282">83.41935483870968</cx:pt>
          <cx:pt idx="2283">80.225806451612897</cx:pt>
          <cx:pt idx="2284">76.709677419354833</cx:pt>
          <cx:pt idx="2285">73.483870967741936</cx:pt>
          <cx:pt idx="2286">69.838709677419359</cx:pt>
          <cx:pt idx="2287">66.387096774193552</cx:pt>
          <cx:pt idx="2288">63.161290322580648</cx:pt>
          <cx:pt idx="2289">59.70967741935484</cx:pt>
          <cx:pt idx="2290">56.354838709677416</cx:pt>
          <cx:pt idx="2291">55.87096774193548</cx:pt>
          <cx:pt idx="2292">55.193548387096776</cx:pt>
          <cx:pt idx="2293">54.774193548387096</cx:pt>
          <cx:pt idx="2294">54.451612903225808</cx:pt>
          <cx:pt idx="2295">53.645161290322584</cx:pt>
          <cx:pt idx="2296">52.87096774193548</cx:pt>
          <cx:pt idx="2297">52.258064516129032</cx:pt>
          <cx:pt idx="2298">51.064516129032256</cx:pt>
          <cx:pt idx="2299">49.935483870967744</cx:pt>
          <cx:pt idx="2300">49.032258064516128</cx:pt>
          <cx:pt idx="2301">47.87096774193548</cx:pt>
          <cx:pt idx="2302">46.87096774193548</cx:pt>
          <cx:pt idx="2303">45.58064516129032</cx:pt>
          <cx:pt idx="2304">44.548387096774192</cx:pt>
          <cx:pt idx="2305">43.677419354838712</cx:pt>
          <cx:pt idx="2306">46.903225806451616</cx:pt>
          <cx:pt idx="2307">49.903225806451616</cx:pt>
          <cx:pt idx="2308">52.774193548387096</cx:pt>
          <cx:pt idx="2309">55.645161290322584</cx:pt>
          <cx:pt idx="2310">58.645161290322584</cx:pt>
          <cx:pt idx="2311">61.741935483870968</cx:pt>
          <cx:pt idx="2312">64.645161290322577</cx:pt>
          <cx:pt idx="2313">67.451612903225808</cx:pt>
          <cx:pt idx="2314">70.612903225806448</cx:pt>
          <cx:pt idx="2315">73.741935483870961</cx:pt>
          <cx:pt idx="2316">76.903225806451616</cx:pt>
          <cx:pt idx="2317">80.129032258064512</cx:pt>
          <cx:pt idx="2318">82.774193548387103</cx:pt>
          <cx:pt idx="2319">85.870967741935488</cx:pt>
          <cx:pt idx="2320">88.483870967741936</cx:pt>
          <cx:pt idx="2321">91.58064516129032</cx:pt>
          <cx:pt idx="2322">91.322580645161295</cx:pt>
          <cx:pt idx="2323">91.258064516129039</cx:pt>
          <cx:pt idx="2324">90.612903225806448</cx:pt>
          <cx:pt idx="2325">90.677419354838705</cx:pt>
          <cx:pt idx="2326">90.838709677419359</cx:pt>
          <cx:pt idx="2327">90.967741935483872</cx:pt>
          <cx:pt idx="2328">90.548387096774192</cx:pt>
          <cx:pt idx="2329">91.129032258064512</cx:pt>
          <cx:pt idx="2330">91.032258064516128</cx:pt>
          <cx:pt idx="2331">91.193548387096769</cx:pt>
          <cx:pt idx="2332">91.225806451612897</cx:pt>
          <cx:pt idx="2333">91.129032258064512</cx:pt>
          <cx:pt idx="2334">91.258064516129039</cx:pt>
          <cx:pt idx="2335">91.032258064516128</cx:pt>
          <cx:pt idx="2336">90.645161290322577</cx:pt>
          <cx:pt idx="2337">90.032258064516128</cx:pt>
          <cx:pt idx="2338">89.709677419354833</cx:pt>
          <cx:pt idx="2339">89.741935483870961</cx:pt>
          <cx:pt idx="2340">89.58064516129032</cx:pt>
          <cx:pt idx="2341">89.193548387096769</cx:pt>
          <cx:pt idx="2342">88.741935483870961</cx:pt>
          <cx:pt idx="2343">88.677419354838705</cx:pt>
          <cx:pt idx="2344">88.483870967741936</cx:pt>
          <cx:pt idx="2345">88.193548387096769</cx:pt>
          <cx:pt idx="2346">87.741935483870961</cx:pt>
          <cx:pt idx="2347">87.483870967741936</cx:pt>
          <cx:pt idx="2348">87.354838709677423</cx:pt>
          <cx:pt idx="2349">87.58064516129032</cx:pt>
          <cx:pt idx="2350">87.612903225806448</cx:pt>
          <cx:pt idx="2351">88.032258064516128</cx:pt>
          <cx:pt idx="2352">87.903225806451616</cx:pt>
          <cx:pt idx="2353">87.806451612903231</cx:pt>
          <cx:pt idx="2354">87.870967741935488</cx:pt>
          <cx:pt idx="2355">88.387096774193552</cx:pt>
          <cx:pt idx="2356">88.193548387096769</cx:pt>
          <cx:pt idx="2357">88.193548387096769</cx:pt>
          <cx:pt idx="2358">87.935483870967744</cx:pt>
          <cx:pt idx="2359">88.290322580645167</cx:pt>
          <cx:pt idx="2360">87.677419354838705</cx:pt>
          <cx:pt idx="2361">88</cx:pt>
          <cx:pt idx="2362">87.58064516129032</cx:pt>
          <cx:pt idx="2363">87.483870967741936</cx:pt>
          <cx:pt idx="2364">87.354838709677423</cx:pt>
          <cx:pt idx="2365">87.41935483870968</cx:pt>
          <cx:pt idx="2366">87.967741935483872</cx:pt>
          <cx:pt idx="2367">88.096774193548384</cx:pt>
          <cx:pt idx="2368">88.612903225806448</cx:pt>
          <cx:pt idx="2369">88.677419354838705</cx:pt>
          <cx:pt idx="2370">88.677419354838705</cx:pt>
          <cx:pt idx="2371">89</cx:pt>
          <cx:pt idx="2372">89.032258064516128</cx:pt>
          <cx:pt idx="2373">89.58064516129032</cx:pt>
          <cx:pt idx="2374">89.741935483870961</cx:pt>
          <cx:pt idx="2375">90.322580645161295</cx:pt>
          <cx:pt idx="2376">90.032258064516128</cx:pt>
          <cx:pt idx="2377">89.967741935483872</cx:pt>
          <cx:pt idx="2378">89.677419354838705</cx:pt>
          <cx:pt idx="2379">89.322580645161295</cx:pt>
          <cx:pt idx="2380">89.161290322580641</cx:pt>
          <cx:pt idx="2381">89.032258064516128</cx:pt>
          <cx:pt idx="2382">88.935483870967744</cx:pt>
          <cx:pt idx="2383">88.645161290322577</cx:pt>
          <cx:pt idx="2384">88.774193548387103</cx:pt>
          <cx:pt idx="2385">89.032258064516128</cx:pt>
          <cx:pt idx="2386">89.064516129032256</cx:pt>
          <cx:pt idx="2387">89.225806451612897</cx:pt>
          <cx:pt idx="2388">89.322580645161295</cx:pt>
          <cx:pt idx="2389">89.129032258064512</cx:pt>
          <cx:pt idx="2390">88.935483870967744</cx:pt>
          <cx:pt idx="2391">89.129032258064512</cx:pt>
          <cx:pt idx="2392">88.870967741935488</cx:pt>
          <cx:pt idx="2393">88.935483870967744</cx:pt>
          <cx:pt idx="2394">89.451612903225808</cx:pt>
          <cx:pt idx="2395">89.387096774193552</cx:pt>
          <cx:pt idx="2396">89.612903225806448</cx:pt>
          <cx:pt idx="2397">89.58064516129032</cx:pt>
          <cx:pt idx="2398">89.58064516129032</cx:pt>
          <cx:pt idx="2399">89.41935483870968</cx:pt>
          <cx:pt idx="2400">89.258064516129039</cx:pt>
          <cx:pt idx="2401">89.58064516129032</cx:pt>
          <cx:pt idx="2402">89.58064516129032</cx:pt>
          <cx:pt idx="2403">89.838709677419359</cx:pt>
          <cx:pt idx="2404">89.612903225806448</cx:pt>
          <cx:pt idx="2405">89.225806451612897</cx:pt>
          <cx:pt idx="2406">88.967741935483872</cx:pt>
          <cx:pt idx="2407">89.451612903225808</cx:pt>
          <cx:pt idx="2408">90.064516129032256</cx:pt>
          <cx:pt idx="2409">90.483870967741936</cx:pt>
          <cx:pt idx="2410">90.806451612903231</cx:pt>
          <cx:pt idx="2411">90.741935483870961</cx:pt>
          <cx:pt idx="2412">90.58064516129032</cx:pt>
          <cx:pt idx="2413">90.387096774193552</cx:pt>
          <cx:pt idx="2414">90.483870967741936</cx:pt>
          <cx:pt idx="2415">90.741935483870961</cx:pt>
          <cx:pt idx="2416">90.645161290322577</cx:pt>
          <cx:pt idx="2417">90.516129032258064</cx:pt>
          <cx:pt idx="2418">90.129032258064512</cx:pt>
          <cx:pt idx="2419">90.225806451612897</cx:pt>
          <cx:pt idx="2420">90.516129032258064</cx:pt>
        </cx:lvl>
      </cx:numDim>
    </cx:data>
    <cx:data id="3">
      <cx:numDim type="val">
        <cx:f>'Data Repository Table'!$F$2455:$F$4875</cx:f>
        <cx:lvl ptCount="242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235.19354838709677</cx:pt>
          <cx:pt idx="2254">235.54838709677421</cx:pt>
          <cx:pt idx="2255">235.93548387096774</cx:pt>
          <cx:pt idx="2256">236.19354838709677</cx:pt>
          <cx:pt idx="2257">236.19354838709677</cx:pt>
          <cx:pt idx="2258">236.25806451612902</cx:pt>
          <cx:pt idx="2259">236.48387096774192</cx:pt>
          <cx:pt idx="2260">236.06451612903226</cx:pt>
          <cx:pt idx="2261">235.67741935483872</cx:pt>
          <cx:pt idx="2262">236.09677419354838</cx:pt>
          <cx:pt idx="2263">236.06451612903226</cx:pt>
          <cx:pt idx="2264">236.06451612903226</cx:pt>
          <cx:pt idx="2265">236.29032258064515</cx:pt>
          <cx:pt idx="2266">236.29032258064515</cx:pt>
          <cx:pt idx="2267">236.80645161290323</cx:pt>
          <cx:pt idx="2268">237.12903225806451</cx:pt>
          <cx:pt idx="2269">237.41935483870967</cx:pt>
          <cx:pt idx="2270">237.7741935483871</cx:pt>
          <cx:pt idx="2271">238.19354838709677</cx:pt>
          <cx:pt idx="2272">238.48387096774192</cx:pt>
          <cx:pt idx="2273">239.09677419354838</cx:pt>
          <cx:pt idx="2274">240.45161290322579</cx:pt>
          <cx:pt idx="2275">232.67741935483872</cx:pt>
          <cx:pt idx="2276">225.29032258064515</cx:pt>
          <cx:pt idx="2277">217.67741935483872</cx:pt>
          <cx:pt idx="2278">209.70967741935485</cx:pt>
          <cx:pt idx="2279">202.03225806451613</cx:pt>
          <cx:pt idx="2280">194.61290322580646</cx:pt>
          <cx:pt idx="2281">187.48387096774192</cx:pt>
          <cx:pt idx="2282">180</cx:pt>
          <cx:pt idx="2283">172.83870967741936</cx:pt>
          <cx:pt idx="2284">165.35483870967741</cx:pt>
          <cx:pt idx="2285">157.45161290322579</cx:pt>
          <cx:pt idx="2286">149.93548387096774</cx:pt>
          <cx:pt idx="2287">141.90322580645162</cx:pt>
          <cx:pt idx="2288">133.87096774193549</cx:pt>
          <cx:pt idx="2289">126.19354838709677</cx:pt>
          <cx:pt idx="2290">118.45161290322581</cx:pt>
          <cx:pt idx="2291">116.83870967741936</cx:pt>
          <cx:pt idx="2292">115.12903225806451</cx:pt>
          <cx:pt idx="2293">114.12903225806451</cx:pt>
          <cx:pt idx="2294">112.96774193548387</cx:pt>
          <cx:pt idx="2295">112.45161290322581</cx:pt>
          <cx:pt idx="2296">110.70967741935483</cx:pt>
          <cx:pt idx="2297">109</cx:pt>
          <cx:pt idx="2298">107.61290322580645</cx:pt>
          <cx:pt idx="2299">105.51612903225806</cx:pt>
          <cx:pt idx="2300">104.3225806451613</cx:pt>
          <cx:pt idx="2301">102.96774193548387</cx:pt>
          <cx:pt idx="2302">102.03225806451613</cx:pt>
          <cx:pt idx="2303">100.90322580645162</cx:pt>
          <cx:pt idx="2304">98.322580645161295</cx:pt>
          <cx:pt idx="2305">96.451612903225808</cx:pt>
          <cx:pt idx="2306">103.45161290322581</cx:pt>
          <cx:pt idx="2307">109.61290322580645</cx:pt>
          <cx:pt idx="2308">116.54838709677419</cx:pt>
          <cx:pt idx="2309">123.41935483870968</cx:pt>
          <cx:pt idx="2310">129.87096774193549</cx:pt>
          <cx:pt idx="2311">136.2258064516129</cx:pt>
          <cx:pt idx="2312">142.67741935483872</cx:pt>
          <cx:pt idx="2313">148.61290322580646</cx:pt>
          <cx:pt idx="2314">154.54838709677421</cx:pt>
          <cx:pt idx="2315">160.80645161290323</cx:pt>
          <cx:pt idx="2316">166.96774193548387</cx:pt>
          <cx:pt idx="2317">174.06451612903226</cx:pt>
          <cx:pt idx="2318">180.74193548387098</cx:pt>
          <cx:pt idx="2319">187.64516129032259</cx:pt>
          <cx:pt idx="2320">194.38709677419354</cx:pt>
          <cx:pt idx="2321">200.48387096774192</cx:pt>
          <cx:pt idx="2322">201.32258064516128</cx:pt>
          <cx:pt idx="2323">202.25806451612902</cx:pt>
          <cx:pt idx="2324">202.35483870967741</cx:pt>
          <cx:pt idx="2325">201.7741935483871</cx:pt>
          <cx:pt idx="2326">200.61290322580646</cx:pt>
          <cx:pt idx="2327">200.74193548387098</cx:pt>
          <cx:pt idx="2328">201.35483870967741</cx:pt>
          <cx:pt idx="2329">201.32258064516128</cx:pt>
          <cx:pt idx="2330">202</cx:pt>
          <cx:pt idx="2331">201.12903225806451</cx:pt>
          <cx:pt idx="2332">200.25806451612902</cx:pt>
          <cx:pt idx="2333">199.87096774193549</cx:pt>
          <cx:pt idx="2334">199.38709677419354</cx:pt>
          <cx:pt idx="2335">199.54838709677421</cx:pt>
          <cx:pt idx="2336">199.12903225806451</cx:pt>
          <cx:pt idx="2337">198.09677419354838</cx:pt>
          <cx:pt idx="2338">198.83870967741936</cx:pt>
          <cx:pt idx="2339">198.87096774193549</cx:pt>
          <cx:pt idx="2340">197.93548387096774</cx:pt>
          <cx:pt idx="2341">197.29032258064515</cx:pt>
          <cx:pt idx="2342">197.93548387096774</cx:pt>
          <cx:pt idx="2343">197.64516129032259</cx:pt>
          <cx:pt idx="2344">198.32258064516128</cx:pt>
          <cx:pt idx="2345">199.29032258064515</cx:pt>
          <cx:pt idx="2346">200.06451612903226</cx:pt>
          <cx:pt idx="2347">199.90322580645162</cx:pt>
          <cx:pt idx="2348">199.67741935483872</cx:pt>
          <cx:pt idx="2349">199.16129032258064</cx:pt>
          <cx:pt idx="2350">199.09677419354838</cx:pt>
          <cx:pt idx="2351">198.87096774193549</cx:pt>
          <cx:pt idx="2352">199.61290322580646</cx:pt>
          <cx:pt idx="2353">198.54838709677421</cx:pt>
          <cx:pt idx="2354">198.70967741935485</cx:pt>
          <cx:pt idx="2355">198.06451612903226</cx:pt>
          <cx:pt idx="2356">199.06451612903226</cx:pt>
          <cx:pt idx="2357">200.03225806451613</cx:pt>
          <cx:pt idx="2358">200.03225806451613</cx:pt>
          <cx:pt idx="2359">200.03225806451613</cx:pt>
          <cx:pt idx="2360">199.58064516129033</cx:pt>
          <cx:pt idx="2361">199.64516129032259</cx:pt>
          <cx:pt idx="2362">199.90322580645162</cx:pt>
          <cx:pt idx="2363">199.83870967741936</cx:pt>
          <cx:pt idx="2364">199.67741935483872</cx:pt>
          <cx:pt idx="2365">200.64516129032259</cx:pt>
          <cx:pt idx="2366">200.70967741935485</cx:pt>
          <cx:pt idx="2367">200.70967741935485</cx:pt>
          <cx:pt idx="2368">201.67741935483872</cx:pt>
          <cx:pt idx="2369">201.35483870967741</cx:pt>
          <cx:pt idx="2370">201.45161290322579</cx:pt>
          <cx:pt idx="2371">201.67741935483872</cx:pt>
          <cx:pt idx="2372">202.67741935483872</cx:pt>
          <cx:pt idx="2373">201.64516129032259</cx:pt>
          <cx:pt idx="2374">201.87096774193549</cx:pt>
          <cx:pt idx="2375">201.96774193548387</cx:pt>
          <cx:pt idx="2376">201.19354838709677</cx:pt>
          <cx:pt idx="2377">201.03225806451613</cx:pt>
          <cx:pt idx="2378">201.35483870967741</cx:pt>
          <cx:pt idx="2379">200.41935483870967</cx:pt>
          <cx:pt idx="2380">200.61290322580646</cx:pt>
          <cx:pt idx="2381">200.61290322580646</cx:pt>
          <cx:pt idx="2382">200.45161290322579</cx:pt>
          <cx:pt idx="2383">200.06451612903226</cx:pt>
          <cx:pt idx="2384">200.12903225806451</cx:pt>
          <cx:pt idx="2385">199.70967741935485</cx:pt>
          <cx:pt idx="2386">200.41935483870967</cx:pt>
          <cx:pt idx="2387">200.2258064516129</cx:pt>
          <cx:pt idx="2388">199.87096774193549</cx:pt>
          <cx:pt idx="2389">199.83870967741936</cx:pt>
          <cx:pt idx="2390">200</cx:pt>
          <cx:pt idx="2391">200.03225806451613</cx:pt>
          <cx:pt idx="2392">199.90322580645162</cx:pt>
          <cx:pt idx="2393">199.87096774193549</cx:pt>
          <cx:pt idx="2394">200.16129032258064</cx:pt>
          <cx:pt idx="2395">200.58064516129033</cx:pt>
          <cx:pt idx="2396">200.38709677419354</cx:pt>
          <cx:pt idx="2397">200.96774193548387</cx:pt>
          <cx:pt idx="2398">201.45161290322579</cx:pt>
          <cx:pt idx="2399">201.35483870967741</cx:pt>
          <cx:pt idx="2400">200.64516129032259</cx:pt>
          <cx:pt idx="2401">199.90322580645162</cx:pt>
          <cx:pt idx="2402">200.25806451612902</cx:pt>
          <cx:pt idx="2403">200.12903225806451</cx:pt>
          <cx:pt idx="2404">201.06451612903226</cx:pt>
          <cx:pt idx="2405">201.19354838709677</cx:pt>
          <cx:pt idx="2406">200.32258064516128</cx:pt>
          <cx:pt idx="2407">201.29032258064515</cx:pt>
          <cx:pt idx="2408">201.09677419354838</cx:pt>
          <cx:pt idx="2409">201.19354838709677</cx:pt>
          <cx:pt idx="2410">201.45161290322579</cx:pt>
          <cx:pt idx="2411">201.45161290322579</cx:pt>
          <cx:pt idx="2412">200.45161290322579</cx:pt>
          <cx:pt idx="2413">200.03225806451613</cx:pt>
          <cx:pt idx="2414">200.45161290322579</cx:pt>
          <cx:pt idx="2415">201.51612903225808</cx:pt>
          <cx:pt idx="2416">200.96774193548387</cx:pt>
          <cx:pt idx="2417">200.93548387096774</cx:pt>
          <cx:pt idx="2418">200.06451612903226</cx:pt>
          <cx:pt idx="2419">200.38709677419354</cx:pt>
          <cx:pt idx="2420">200.32258064516128</cx:pt>
        </cx:lvl>
      </cx:numDim>
    </cx:data>
    <cx:data id="4">
      <cx:numDim type="val">
        <cx:f>'Data Repository Table'!$G$2455:$G$4875</cx:f>
        <cx:lvl ptCount="242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56.451612903225808</cx:pt>
          <cx:pt idx="2254">56.483870967741936</cx:pt>
          <cx:pt idx="2255">56.58064516129032</cx:pt>
          <cx:pt idx="2256">56.58064516129032</cx:pt>
          <cx:pt idx="2257">56.677419354838712</cx:pt>
          <cx:pt idx="2258">56.774193548387096</cx:pt>
          <cx:pt idx="2259">56.741935483870968</cx:pt>
          <cx:pt idx="2260">56.741935483870968</cx:pt>
          <cx:pt idx="2261">56.70967741935484</cx:pt>
          <cx:pt idx="2262">56.741935483870968</cx:pt>
          <cx:pt idx="2263">56.677419354838712</cx:pt>
          <cx:pt idx="2264">56.774193548387096</cx:pt>
          <cx:pt idx="2265">56.935483870967744</cx:pt>
          <cx:pt idx="2266">57.225806451612904</cx:pt>
          <cx:pt idx="2267">57.41935483870968</cx:pt>
          <cx:pt idx="2268">57.70967741935484</cx:pt>
          <cx:pt idx="2269">57.774193548387096</cx:pt>
          <cx:pt idx="2270">57.87096774193548</cx:pt>
          <cx:pt idx="2271">58.161290322580648</cx:pt>
          <cx:pt idx="2272">58.193548387096776</cx:pt>
          <cx:pt idx="2273">58.41935483870968</cx:pt>
          <cx:pt idx="2274">58.58064516129032</cx:pt>
          <cx:pt idx="2275">56.774193548387096</cx:pt>
          <cx:pt idx="2276">54.903225806451616</cx:pt>
          <cx:pt idx="2277">53.161290322580648</cx:pt>
          <cx:pt idx="2278">51.258064516129032</cx:pt>
          <cx:pt idx="2279">49.354838709677416</cx:pt>
          <cx:pt idx="2280">47.451612903225808</cx:pt>
          <cx:pt idx="2281">45.645161290322584</cx:pt>
          <cx:pt idx="2282">43.903225806451616</cx:pt>
          <cx:pt idx="2283">42.12903225806452</cx:pt>
          <cx:pt idx="2284">40.354838709677416</cx:pt>
          <cx:pt idx="2285">38.483870967741936</cx:pt>
          <cx:pt idx="2286">36.645161290322584</cx:pt>
          <cx:pt idx="2287">34.741935483870968</cx:pt>
          <cx:pt idx="2288">32.838709677419352</cx:pt>
          <cx:pt idx="2289">30.93548387096774</cx:pt>
          <cx:pt idx="2290">29.06451612903226</cx:pt>
          <cx:pt idx="2291">28.70967741935484</cx:pt>
          <cx:pt idx="2292">28.387096774193548</cx:pt>
          <cx:pt idx="2293">28.225806451612904</cx:pt>
          <cx:pt idx="2294">27.967741935483872</cx:pt>
          <cx:pt idx="2295">27.870967741935484</cx:pt>
          <cx:pt idx="2296">27.70967741935484</cx:pt>
          <cx:pt idx="2297">27.258064516129032</cx:pt>
          <cx:pt idx="2298">26.64516129032258</cx:pt>
          <cx:pt idx="2299">26.06451612903226</cx:pt>
          <cx:pt idx="2300">25.806451612903224</cx:pt>
          <cx:pt idx="2301">25.387096774193548</cx:pt>
          <cx:pt idx="2302">24.967741935483872</cx:pt>
          <cx:pt idx="2303">24.677419354838708</cx:pt>
          <cx:pt idx="2304">24.129032258064516</cx:pt>
          <cx:pt idx="2305">23.870967741935484</cx:pt>
          <cx:pt idx="2306">25.580645161290324</cx:pt>
          <cx:pt idx="2307">27.35483870967742</cx:pt>
          <cx:pt idx="2308">29</cx:pt>
          <cx:pt idx="2309">30.741935483870968</cx:pt>
          <cx:pt idx="2310">32.225806451612904</cx:pt>
          <cx:pt idx="2311">33.87096774193548</cx:pt>
          <cx:pt idx="2312">35.483870967741936</cx:pt>
          <cx:pt idx="2313">37.064516129032256</cx:pt>
          <cx:pt idx="2314">38.677419354838712</cx:pt>
          <cx:pt idx="2315">40.29032258064516</cx:pt>
          <cx:pt idx="2316">41.935483870967744</cx:pt>
          <cx:pt idx="2317">43.677419354838712</cx:pt>
          <cx:pt idx="2318">45.258064516129032</cx:pt>
          <cx:pt idx="2319">46.903225806451616</cx:pt>
          <cx:pt idx="2320">48.483870967741936</cx:pt>
          <cx:pt idx="2321">50.064516129032256</cx:pt>
          <cx:pt idx="2322">50.12903225806452</cx:pt>
          <cx:pt idx="2323">50.41935483870968</cx:pt>
          <cx:pt idx="2324">50.258064516129032</cx:pt>
          <cx:pt idx="2325">50.548387096774192</cx:pt>
          <cx:pt idx="2326">50.322580645161288</cx:pt>
          <cx:pt idx="2327">50.12903225806452</cx:pt>
          <cx:pt idx="2328">50.322580645161288</cx:pt>
          <cx:pt idx="2329">50.451612903225808</cx:pt>
          <cx:pt idx="2330">50.58064516129032</cx:pt>
          <cx:pt idx="2331">50.516129032258064</cx:pt>
          <cx:pt idx="2332">50.677419354838712</cx:pt>
          <cx:pt idx="2333">50.483870967741936</cx:pt>
          <cx:pt idx="2334">50.354838709677416</cx:pt>
          <cx:pt idx="2335">50.548387096774192</cx:pt>
          <cx:pt idx="2336">50.354838709677416</cx:pt>
          <cx:pt idx="2337">50.096774193548384</cx:pt>
          <cx:pt idx="2338">50.064516129032256</cx:pt>
          <cx:pt idx="2339">50.032258064516128</cx:pt>
          <cx:pt idx="2340">49.774193548387096</cx:pt>
          <cx:pt idx="2341">50.032258064516128</cx:pt>
          <cx:pt idx="2342">50.12903225806452</cx:pt>
          <cx:pt idx="2343">50.258064516129032</cx:pt>
          <cx:pt idx="2344">50.387096774193552</cx:pt>
          <cx:pt idx="2345">50.451612903225808</cx:pt>
          <cx:pt idx="2346">50.451612903225808</cx:pt>
          <cx:pt idx="2347">50.354838709677416</cx:pt>
          <cx:pt idx="2348">50.354838709677416</cx:pt>
          <cx:pt idx="2349">50.41935483870968</cx:pt>
          <cx:pt idx="2350">50.225806451612904</cx:pt>
          <cx:pt idx="2351">50.322580645161288</cx:pt>
          <cx:pt idx="2352">50.258064516129032</cx:pt>
          <cx:pt idx="2353">50.225806451612904</cx:pt>
          <cx:pt idx="2354">50.225806451612904</cx:pt>
          <cx:pt idx="2355">50.354838709677416</cx:pt>
          <cx:pt idx="2356">50.29032258064516</cx:pt>
          <cx:pt idx="2357">50.258064516129032</cx:pt>
          <cx:pt idx="2358">50.451612903225808</cx:pt>
          <cx:pt idx="2359">50.193548387096776</cx:pt>
          <cx:pt idx="2360">50.032258064516128</cx:pt>
          <cx:pt idx="2361">49.903225806451616</cx:pt>
          <cx:pt idx="2362">49.741935483870968</cx:pt>
          <cx:pt idx="2363">49.516129032258064</cx:pt>
          <cx:pt idx="2364">49.516129032258064</cx:pt>
          <cx:pt idx="2365">49.483870967741936</cx:pt>
          <cx:pt idx="2366">49.41935483870968</cx:pt>
          <cx:pt idx="2367">49.58064516129032</cx:pt>
          <cx:pt idx="2368">49.741935483870968</cx:pt>
          <cx:pt idx="2369">49.70967741935484</cx:pt>
          <cx:pt idx="2370">49.741935483870968</cx:pt>
          <cx:pt idx="2371">49.806451612903224</cx:pt>
          <cx:pt idx="2372">49.58064516129032</cx:pt>
          <cx:pt idx="2373">49.322580645161288</cx:pt>
          <cx:pt idx="2374">49.161290322580648</cx:pt>
          <cx:pt idx="2375">49.096774193548384</cx:pt>
          <cx:pt idx="2376">49.064516129032256</cx:pt>
          <cx:pt idx="2377">49.193548387096776</cx:pt>
          <cx:pt idx="2378">49.12903225806452</cx:pt>
          <cx:pt idx="2379">49.032258064516128</cx:pt>
          <cx:pt idx="2380">48.903225806451616</cx:pt>
          <cx:pt idx="2381">49.193548387096776</cx:pt>
          <cx:pt idx="2382">49.258064516129032</cx:pt>
          <cx:pt idx="2383">49.451612903225808</cx:pt>
          <cx:pt idx="2384">49.645161290322584</cx:pt>
          <cx:pt idx="2385">49.58064516129032</cx:pt>
          <cx:pt idx="2386">49.516129032258064</cx:pt>
          <cx:pt idx="2387">49.451612903225808</cx:pt>
          <cx:pt idx="2388">49.41935483870968</cx:pt>
          <cx:pt idx="2389">49.451612903225808</cx:pt>
          <cx:pt idx="2390">49.387096774193552</cx:pt>
          <cx:pt idx="2391">49.516129032258064</cx:pt>
          <cx:pt idx="2392">49.70967741935484</cx:pt>
          <cx:pt idx="2393">49.935483870967744</cx:pt>
          <cx:pt idx="2394">50.064516129032256</cx:pt>
          <cx:pt idx="2395">50.064516129032256</cx:pt>
          <cx:pt idx="2396">50.064516129032256</cx:pt>
          <cx:pt idx="2397">50.064516129032256</cx:pt>
          <cx:pt idx="2398">50.032258064516128</cx:pt>
          <cx:pt idx="2399">49.935483870967744</cx:pt>
          <cx:pt idx="2400">49.935483870967744</cx:pt>
          <cx:pt idx="2401">50</cx:pt>
          <cx:pt idx="2402">50.193548387096776</cx:pt>
          <cx:pt idx="2403">50.451612903225808</cx:pt>
          <cx:pt idx="2404">50.548387096774192</cx:pt>
          <cx:pt idx="2405">50.451612903225808</cx:pt>
          <cx:pt idx="2406">50.29032258064516</cx:pt>
          <cx:pt idx="2407">50.161290322580648</cx:pt>
          <cx:pt idx="2408">49.87096774193548</cx:pt>
          <cx:pt idx="2409">50</cx:pt>
          <cx:pt idx="2410">49.87096774193548</cx:pt>
          <cx:pt idx="2411">50</cx:pt>
          <cx:pt idx="2412">49.70967741935484</cx:pt>
          <cx:pt idx="2413">49.41935483870968</cx:pt>
          <cx:pt idx="2414">49.354838709677416</cx:pt>
          <cx:pt idx="2415">49.12903225806452</cx:pt>
          <cx:pt idx="2416">49.032258064516128</cx:pt>
          <cx:pt idx="2417">49</cx:pt>
          <cx:pt idx="2418">48.903225806451616</cx:pt>
          <cx:pt idx="2419">48.967741935483872</cx:pt>
          <cx:pt idx="2420">48.838709677419352</cx:pt>
        </cx:lvl>
      </cx:numDim>
    </cx:data>
    <cx:data id="5">
      <cx:numDim type="val">
        <cx:f>'Data Repository Table'!$H$2455:$H$4875</cx:f>
        <cx:lvl ptCount="242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4.7414932560253549</cx:pt>
          <cx:pt idx="2254">4.7367515907918341</cx:pt>
          <cx:pt idx="2255">4.7450802152175511</cx:pt>
          <cx:pt idx="2256">4.7429366385770093</cx:pt>
          <cx:pt idx="2257">4.7429366385770102</cx:pt>
          <cx:pt idx="2258">4.742801513401961</cx:pt>
          <cx:pt idx="2259">4.7372552391715601</cx:pt>
          <cx:pt idx="2260">4.734374616121662</cx:pt>
          <cx:pt idx="2261">4.7398103333906594</cx:pt>
          <cx:pt idx="2262">4.7570142249956993</cx:pt>
          <cx:pt idx="2263">4.7563508832272801</cx:pt>
          <cx:pt idx="2264">4.772295653883007</cx:pt>
          <cx:pt idx="2265">4.792601282460752</cx:pt>
          <cx:pt idx="2266">4.8540463847873614</cx:pt>
          <cx:pt idx="2267">4.9228650222342321</cx:pt>
          <cx:pt idx="2268">4.994333955728079</cx:pt>
          <cx:pt idx="2269">5.0619641058398637</cx:pt>
          <cx:pt idx="2270">5.1338691251259103</cx:pt>
          <cx:pt idx="2271">5.2181672726826021</cx:pt>
          <cx:pt idx="2272">5.2824745718988773</cx:pt>
          <cx:pt idx="2273">5.3777884922487278</cx:pt>
          <cx:pt idx="2274">5.4826333439795585</cx:pt>
          <cx:pt idx="2275">5.3301691521509458</cx:pt>
          <cx:pt idx="2276">5.1684181755644536</cx:pt>
          <cx:pt idx="2277">5.0234657150578572</cx:pt>
          <cx:pt idx="2278">4.8505177751025705</cx:pt>
          <cx:pt idx="2279">4.7028750952018266</cx:pt>
          <cx:pt idx="2280">4.5559571776036147</cx:pt>
          <cx:pt idx="2281">4.4175030096061709</cx:pt>
          <cx:pt idx="2282">4.272157457681252</cx:pt>
          <cx:pt idx="2283">4.1371674078077776</cx:pt>
          <cx:pt idx="2284">3.9818471611429138</cx:pt>
          <cx:pt idx="2285">3.8313668525661506</cx:pt>
          <cx:pt idx="2286">3.6696527283001252</cx:pt>
          <cx:pt idx="2287">3.5060099992629543</cx:pt>
          <cx:pt idx="2288">3.353072869321672</cx:pt>
          <cx:pt idx="2289">3.1966593371495962</cx:pt>
          <cx:pt idx="2290">3.0433536840036362</cx:pt>
          <cx:pt idx="2291">2.9914226224111244</cx:pt>
          <cx:pt idx="2292">2.9323974891285656</cx:pt>
          <cx:pt idx="2293">2.8945931503820361</cx:pt>
          <cx:pt idx="2294">2.8582444782939835</cx:pt>
          <cx:pt idx="2295">2.8132600791096478</cx:pt>
          <cx:pt idx="2296">2.7487685182910346</cx:pt>
          <cx:pt idx="2297">2.6452564921504558</cx:pt>
          <cx:pt idx="2298">2.5260238803036641</cx:pt>
          <cx:pt idx="2299">2.3867159668820488</cx:pt>
          <cx:pt idx="2300">2.276472250202688</cx:pt>
          <cx:pt idx="2301">2.1531336756504431</cx:pt>
          <cx:pt idx="2302">2.0441813257008081</cx:pt>
          <cx:pt idx="2303">1.9250869100557697</cx:pt>
          <cx:pt idx="2304">1.7815640124806524</cx:pt>
          <cx:pt idx="2305">1.656769771269931</cx:pt>
          <cx:pt idx="2306">1.7900523302950642</cx:pt>
          <cx:pt idx="2307">1.8991536250399232</cx:pt>
          <cx:pt idx="2308">2.0166818170650811</cx:pt>
          <cx:pt idx="2309">2.1331167235830284</cx:pt>
          <cx:pt idx="2310">2.2473589170331425</cx:pt>
          <cx:pt idx="2311">2.3635174311475815</cx:pt>
          <cx:pt idx="2312">2.4740743925509179</cx:pt>
          <cx:pt idx="2313">2.5723963835589516</cx:pt>
          <cx:pt idx="2314">2.6831498906714493</cx:pt>
          <cx:pt idx="2315">2.7987310517652264</cx:pt>
          <cx:pt idx="2316">2.9136980075178736</cx:pt>
          <cx:pt idx="2317">3.0488231825663954</cx:pt>
          <cx:pt idx="2318">3.1530783971697414</cx:pt>
          <cx:pt idx="2319">3.2792607424514162</cx:pt>
          <cx:pt idx="2320">3.3832395646512539</cx:pt>
          <cx:pt idx="2321">3.4946809817458169</cx:pt>
          <cx:pt idx="2322">3.4998648748249512</cx:pt>
          <cx:pt idx="2323">3.5131501363535858</cx:pt>
          <cx:pt idx="2324">3.4895646512542076</cx:pt>
          <cx:pt idx="2325">3.4810026287988598</cx:pt>
          <cx:pt idx="2326">3.4669741788074586</cx:pt>
          <cx:pt idx="2327">3.473730437559885</cx:pt>
          <cx:pt idx="2328">3.4682824361840652</cx:pt>
          <cx:pt idx="2329">3.4892268383165868</cx:pt>
          <cx:pt idx="2330">3.4967999901727151</cx:pt>
          <cx:pt idx="2331">3.4879370071002143</cx:pt>
          <cx:pt idx="2332">3.4754747807286934</cx:pt>
          <cx:pt idx="2333">3.4650455740363126</cx:pt>
          <cx:pt idx="2334">3.4622693658944059</cx:pt>
          <cx:pt idx="2335">3.457005626120925</cx:pt>
          <cx:pt idx="2336">3.4354347345404519</cx:pt>
          <cx:pt idx="2337">3.3941908458835957</cx:pt>
          <cx:pt idx="2338">3.394184703830184</cx:pt>
          <cx:pt idx="2339">3.39605803012063</cx:pt>
          <cx:pt idx="2340">3.3745547011276806</cx:pt>
          <cx:pt idx="2341">3.3498636464142693</cx:pt>
          <cx:pt idx="2342">3.3429968307004398</cx:pt>
          <cx:pt idx="2343">3.3356755030341736</cx:pt>
          <cx:pt idx="2344">3.3393423089207181</cx:pt>
          <cx:pt idx="2345">3.3455703510797727</cx:pt>
          <cx:pt idx="2346">3.3411235044099952</cx:pt>
          <cx:pt idx="2347">3.3289745227624503</cx:pt>
          <cx:pt idx="2348">3.3194420558681186</cx:pt>
          <cx:pt idx="2349">3.319595607203401</cx:pt>
          <cx:pt idx="2350">3.3197184482716264</cx:pt>
          <cx:pt idx="2351">3.3323649362454857</cx:pt>
          <cx:pt idx="2352">3.3407181288848489</cx:pt>
          <cx:pt idx="2353">3.3191595214111986</cx:pt>
          <cx:pt idx="2354">3.3244601135051477</cx:pt>
          <cx:pt idx="2355">3.3330098518536726</cx:pt>
          <cx:pt idx="2356">3.3440901162076511</cx:pt>
          <cx:pt idx="2357">3.361410706827507</cx:pt>
          <cx:pt idx="2358">3.3523204677787874</cx:pt>
          <cx:pt idx="2359">3.3665086111588822</cx:pt>
          <cx:pt idx="2360">3.3369039137164331</cx:pt>
          <cx:pt idx="2361">3.3511043412033508</cx:pt>
          <cx:pt idx="2362">3.3397538264992748</cx:pt>
          <cx:pt idx="2363">3.3353622583101981</cx:pt>
          <cx:pt idx="2364">3.327752254133602</cx:pt>
          <cx:pt idx="2365">3.3458958799105716</cx:pt>
          <cx:pt idx="2366">3.3665331793725275</cx:pt>
          <cx:pt idx="2367">3.3712748446060492</cx:pt>
          <cx:pt idx="2368">3.4073286981303594</cx:pt>
          <cx:pt idx="2369">3.4047367515907925</cx:pt>
          <cx:pt idx="2370">3.4063951060118427</cx:pt>
          <cx:pt idx="2371">3.4217379554332616</cx:pt>
          <cx:pt idx="2372">3.4384566248188113</cx:pt>
          <cx:pt idx="2373">3.4416566346460966</cx:pt>
          <cx:pt idx="2374">3.4515207724246388</cx:pt>
          <cx:pt idx="2375">3.4760091393754773</cx:pt>
          <cx:pt idx="2376">3.4523868019556314</cx:pt>
          <cx:pt idx="2377">3.4472213350367307</cx:pt>
          <cx:pt idx="2378">3.4419146008893704</cx:pt>
          <cx:pt idx="2379">3.4123836080878571</cx:pt>
          <cx:pt idx="2380">3.4096135419993625</cx:pt>
          <cx:pt idx="2381">3.4044050807065833</cx:pt>
          <cx:pt idx="2382">3.3978883620371967</cx:pt>
          <cx:pt idx="2383">3.3800518389307923</cx:pt>
          <cx:pt idx="2384">3.3855919711077811</cx:pt>
          <cx:pt idx="2385">3.3883620371962762</cx:pt>
          <cx:pt idx="2386">3.4026177431638955</cx:pt>
          <cx:pt idx="2387">3.4056027811217855</cx:pt>
          <cx:pt idx="2388">3.4029924084219845</cx:pt>
          <cx:pt idx="2389">3.3956833648625415</cx:pt>
          <cx:pt idx="2390">3.3906775913323353</cx:pt>
          <cx:pt idx="2391">3.3978453676633178</cx:pt>
          <cx:pt idx="2392">3.3851681694224021</cx:pt>
          <cx:pt idx="2393">3.3871152003537834</cx:pt>
          <cx:pt idx="2394">3.4104058668894197</cx:pt>
          <cx:pt idx="2395">3.4144043436601739</cx:pt>
          <cx:pt idx="2396">3.4203068569884296</cx:pt>
          <cx:pt idx="2397">3.4299867331646321</cx:pt>
          <cx:pt idx="2398">3.4377257204628662</cx:pt>
          <cx:pt idx="2399">3.4294278063042043</cx:pt>
          <cx:pt idx="2400">3.4123528978208002</cx:pt>
          <cx:pt idx="2401">3.4116772719455573</cx:pt>
          <cx:pt idx="2402">3.4180281551728373</cx:pt>
          <cx:pt idx="2403">3.4261848021030392</cx:pt>
          <cx:pt idx="2404">3.434617841436749</cx:pt>
          <cx:pt idx="2405">3.4220143478367686</cx:pt>
          <cx:pt idx="2406">3.3967029457288156</cx:pt>
          <cx:pt idx="2407">3.4317126501732051</cx:pt>
          <cx:pt idx="2408">3.4528843082819436</cx:pt>
          <cx:pt idx="2409">3.4702663194359129</cx:pt>
          <cx:pt idx="2410">3.4862356583052843</cx:pt>
          <cx:pt idx="2411">3.4838156892612333</cx:pt>
          <cx:pt idx="2412">3.4605495909392423</cx:pt>
          <cx:pt idx="2413">3.4465027147876079</cx:pt>
          <cx:pt idx="2414">3.4570547625482146</cx:pt>
          <cx:pt idx="2415">3.4860636808097683</cx:pt>
          <cx:pt idx="2416">3.4725450212515052</cx:pt>
          <cx:pt idx="2417">3.4668390536324107</cx:pt>
          <cx:pt idx="2418">3.4369333955728076</cx:pt>
          <cx:pt idx="2419">3.4468159595115835</cx:pt>
          <cx:pt idx="2420">3.4558939144534802</cx:pt>
        </cx:lvl>
      </cx:numDim>
    </cx:data>
    <cx:data id="6">
      <cx:numDim type="val">
        <cx:f>'Data Repository Table'!$I$2455:$I$4875</cx:f>
        <cx:lvl ptCount="242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72.570674486803526</cx:pt>
          <cx:pt idx="2254">72.840469208211161</cx:pt>
          <cx:pt idx="2255">72.936070381231687</cx:pt>
          <cx:pt idx="2256">73.32609970674487</cx:pt>
          <cx:pt idx="2257">73.304398826979465</cx:pt>
          <cx:pt idx="2258">73.389442815249254</cx:pt>
          <cx:pt idx="2259">73.127272727272725</cx:pt>
          <cx:pt idx="2260">72.662170087976534</cx:pt>
          <cx:pt idx="2261">72.185923753665691</cx:pt>
          <cx:pt idx="2262">71.99061583577712</cx:pt>
          <cx:pt idx="2263">71.93137829912024</cx:pt>
          <cx:pt idx="2264">71.890909090909091</cx:pt>
          <cx:pt idx="2265">71.834604105571856</cx:pt>
          <cx:pt idx="2266">71.28563049853372</cx:pt>
          <cx:pt idx="2267">70.924340175953077</cx:pt>
          <cx:pt idx="2268">70.483870967741936</cx:pt>
          <cx:pt idx="2269">70.312609970674487</cx:pt>
          <cx:pt idx="2270">70.338416422287381</cx:pt>
          <cx:pt idx="2271">70.285043988269791</cx:pt>
          <cx:pt idx="2272">70.057478005865079</cx:pt>
          <cx:pt idx="2273">69.969501466275645</cx:pt>
          <cx:pt idx="2274">69.466275659824035</cx:pt>
          <cx:pt idx="2275">67.201173020527847</cx:pt>
          <cx:pt idx="2276">64.540175953079171</cx:pt>
          <cx:pt idx="2277">62.485043988269794</cx:pt>
          <cx:pt idx="2278">60.431671554252205</cx:pt>
          <cx:pt idx="2279">58.231671554252209</cx:pt>
          <cx:pt idx="2280">56.14721407624635</cx:pt>
          <cx:pt idx="2281">53.74076246334311</cx:pt>
          <cx:pt idx="2282">51.603519061583576</cx:pt>
          <cx:pt idx="2283">49.543695014662759</cx:pt>
          <cx:pt idx="2284">47.154838709677428</cx:pt>
          <cx:pt idx="2285">44.754838709677422</cx:pt>
          <cx:pt idx="2286">42.073900293255129</cx:pt>
          <cx:pt idx="2287">39.405865102639297</cx:pt>
          <cx:pt idx="2288">36.770674486803514</cx:pt>
          <cx:pt idx="2289">34.334897360703806</cx:pt>
          <cx:pt idx="2290">32.154252199413492</cx:pt>
          <cx:pt idx="2291">32.512609970674482</cx:pt>
          <cx:pt idx="2292">32.849853372434012</cx:pt>
          <cx:pt idx="2293">33.105571847507328</cx:pt>
          <cx:pt idx="2294">33.383577712609977</cx:pt>
          <cx:pt idx="2295">33.836950146627565</cx:pt>
          <cx:pt idx="2296">34.111436950146626</cx:pt>
          <cx:pt idx="2297">34.575366568914951</cx:pt>
          <cx:pt idx="2298">34.920234604105573</cx:pt>
          <cx:pt idx="2299">35.202932551319648</cx:pt>
          <cx:pt idx="2300">35.508504398826979</cx:pt>
          <cx:pt idx="2301">35.693841642228747</cx:pt>
          <cx:pt idx="2302">36.146041055718477</cx:pt>
          <cx:pt idx="2303">36.531964809384164</cx:pt>
          <cx:pt idx="2304">37.006451612903227</cx:pt>
          <cx:pt idx="2305">37.215835777126102</cx:pt>
          <cx:pt idx="2306">39.626392961876839</cx:pt>
          <cx:pt idx="2307">42.114369501466278</cx:pt>
          <cx:pt idx="2308">44.536656891495603</cx:pt>
          <cx:pt idx="2309">46.955425219941354</cx:pt>
          <cx:pt idx="2310">49.424633431085049</cx:pt>
          <cx:pt idx="2311">51.81348973607038</cx:pt>
          <cx:pt idx="2312">54.250439882697947</cx:pt>
          <cx:pt idx="2313">56.733137829912025</cx:pt>
          <cx:pt idx="2314">59.251612903225805</cx:pt>
          <cx:pt idx="2315">61.616422287390023</cx:pt>
          <cx:pt idx="2316">63.994134897360702</cx:pt>
          <cx:pt idx="2317">66.345454545454544</cx:pt>
          <cx:pt idx="2318">68.769501466275656</cx:pt>
          <cx:pt idx="2319">71.2791788856305</cx:pt>
          <cx:pt idx="2320">73.785337243401756</cx:pt>
          <cx:pt idx="2321">76.276246334310841</cx:pt>
          <cx:pt idx="2322">76.275659824046926</cx:pt>
          <cx:pt idx="2323">76.168914956011704</cx:pt>
          <cx:pt idx="2324">76.138416422287378</cx:pt>
          <cx:pt idx="2325">76.171847507331364</cx:pt>
          <cx:pt idx="2326">76.197653958944258</cx:pt>
          <cx:pt idx="2327">76.370674486803523</cx:pt>
          <cx:pt idx="2328">76.30439882697948</cx:pt>
          <cx:pt idx="2329">76.4592375366569</cx:pt>
          <cx:pt idx="2330">76.59882697947215</cx:pt>
          <cx:pt idx="2331">76.646334310850449</cx:pt>
          <cx:pt idx="2332">76.70791788856306</cx:pt>
          <cx:pt idx="2333">76.672727272727286</cx:pt>
          <cx:pt idx="2334">76.546627565982419</cx:pt>
          <cx:pt idx="2335">76.388856304985353</cx:pt>
          <cx:pt idx="2336">76.338416422287409</cx:pt>
          <cx:pt idx="2337">76.329618768328473</cx:pt>
          <cx:pt idx="2338">76.411143695014673</cx:pt>
          <cx:pt idx="2339">76.344281524926714</cx:pt>
          <cx:pt idx="2340">76.283870967741933</cx:pt>
          <cx:pt idx="2341">76.278005865102642</cx:pt>
          <cx:pt idx="2342">76.250439882697933</cx:pt>
          <cx:pt idx="2343">76.330205278592388</cx:pt>
          <cx:pt idx="2344">76.214076246334315</cx:pt>
          <cx:pt idx="2345">76.113782991202342</cx:pt>
          <cx:pt idx="2346">76.28856304985338</cx:pt>
          <cx:pt idx="2347">76.353665689149551</cx:pt>
          <cx:pt idx="2348">76.358944281524913</cx:pt>
          <cx:pt idx="2349">76.374780058651012</cx:pt>
          <cx:pt idx="2350">76.3607038123167</cx:pt>
          <cx:pt idx="2351">76.374780058651027</cx:pt>
          <cx:pt idx="2352">76.405278592375353</cx:pt>
          <cx:pt idx="2353">76.418768328445736</cx:pt>
          <cx:pt idx="2354">76.538416422287384</cx:pt>
          <cx:pt idx="2355">76.636363636363626</cx:pt>
          <cx:pt idx="2356">76.632844574780052</cx:pt>
          <cx:pt idx="2357">76.50674486803517</cx:pt>
          <cx:pt idx="2358">76.536070381231667</cx:pt>
          <cx:pt idx="2359">76.476832844574773</cx:pt>
          <cx:pt idx="2360">76.402932551319651</cx:pt>
          <cx:pt idx="2361">76.200000000000003</cx:pt>
          <cx:pt idx="2362">76.014662756598241</cx:pt>
          <cx:pt idx="2363">75.972434017595319</cx:pt>
          <cx:pt idx="2364">75.947800586510269</cx:pt>
          <cx:pt idx="2365">75.871554252199431</cx:pt>
          <cx:pt idx="2366">75.890909090909091</cx:pt>
          <cx:pt idx="2367">75.931378299120226</cx:pt>
          <cx:pt idx="2368">75.92492668621702</cx:pt>
          <cx:pt idx="2369">75.920821114369502</cx:pt>
          <cx:pt idx="2370">75.919648093841644</cx:pt>
          <cx:pt idx="2371">76.087976539589462</cx:pt>
          <cx:pt idx="2372">76.002932551319645</cx:pt>
          <cx:pt idx="2373">76.025806451612908</cx:pt>
          <cx:pt idx="2374">75.916715542521985</cx:pt>
          <cx:pt idx="2375">76.08387096774193</cx:pt>
          <cx:pt idx="2376">76.231085043988244</cx:pt>
          <cx:pt idx="2377">76.185923753665676</cx:pt>
          <cx:pt idx="2378">76.10615835777125</cx:pt>
          <cx:pt idx="2379">76.10498533724342</cx:pt>
          <cx:pt idx="2380">76.041642228739008</cx:pt>
          <cx:pt idx="2381">75.980645161290312</cx:pt>
          <cx:pt idx="2382">75.970674486803517</cx:pt>
          <cx:pt idx="2383">75.818181818181827</cx:pt>
          <cx:pt idx="2384">75.766568914956025</cx:pt>
          <cx:pt idx="2385">75.715542521994138</cx:pt>
          <cx:pt idx="2386">75.764222873900295</cx:pt>
          <cx:pt idx="2387">75.679765395894421</cx:pt>
          <cx:pt idx="2388">75.643988269794718</cx:pt>
          <cx:pt idx="2389">75.572434017595299</cx:pt>
          <cx:pt idx="2390">75.522580645161284</cx:pt>
          <cx:pt idx="2391">75.558357771261001</cx:pt>
          <cx:pt idx="2392">75.633431085043981</cx:pt>
          <cx:pt idx="2393">75.68973607038123</cx:pt>
          <cx:pt idx="2394">75.690909090909074</cx:pt>
          <cx:pt idx="2395">75.675073313782974</cx:pt>
          <cx:pt idx="2396">75.872727272727289</cx:pt>
          <cx:pt idx="2397">75.879178885630509</cx:pt>
          <cx:pt idx="2398">75.967155425219943</cx:pt>
          <cx:pt idx="2399">76.094428152492668</cx:pt>
          <cx:pt idx="2400">76.095014662756611</cx:pt>
          <cx:pt idx="2401">76.194134897360712</cx:pt>
          <cx:pt idx="2402">76.219941348973592</cx:pt>
          <cx:pt idx="2403">76.304985337243423</cx:pt>
          <cx:pt idx="2404">76.364222873900303</cx:pt>
          <cx:pt idx="2405">76.415249266862162</cx:pt>
          <cx:pt idx="2406">76.288563049853366</cx:pt>
          <cx:pt idx="2407">76.114369501466257</cx:pt>
          <cx:pt idx="2408">76.059824046920795</cx:pt>
          <cx:pt idx="2409">76.101466275659803</cx:pt>
          <cx:pt idx="2410">76.214662756598216</cx:pt>
          <cx:pt idx="2411">76.372434017595296</cx:pt>
          <cx:pt idx="2412">76.334310850439877</cx:pt>
          <cx:pt idx="2413">76.301466275659848</cx:pt>
          <cx:pt idx="2414">76.424046920821127</cx:pt>
          <cx:pt idx="2415">76.42815249266863</cx:pt>
          <cx:pt idx="2416">76.447507331378304</cx:pt>
          <cx:pt idx="2417">76.428739002932545</cx:pt>
          <cx:pt idx="2418">76.451612903225808</cx:pt>
          <cx:pt idx="2419">76.560117302052774</cx:pt>
          <cx:pt idx="2420">76.440469208211127</cx:pt>
        </cx:lvl>
      </cx:numDim>
    </cx:data>
  </cx:chartData>
  <cx:chart>
    <cx:title pos="t" align="ctr" overlay="0">
      <cx:tx>
        <cx:txData>
          <cx:v>Box PLOT ROLLING MEAN (PUMP FAILURE = 0)</cx:v>
        </cx:txData>
      </cx:tx>
      <cx:txPr>
        <a:bodyPr spcFirstLastPara="1" vertOverflow="ellipsis" horzOverflow="overflow" wrap="square" lIns="0" tIns="0" rIns="0" bIns="0" anchor="ctr" anchorCtr="1"/>
        <a:lstStyle/>
        <a:p>
          <a:pPr algn="ctr" rtl="0">
            <a:defRPr/>
          </a:pPr>
          <a:r>
            <a:rPr lang="en-US" sz="1800" b="1" i="0" u="none" strike="noStrike" cap="all" spc="150" baseline="0">
              <a:solidFill>
                <a:sysClr val="windowText" lastClr="000000">
                  <a:lumMod val="50000"/>
                  <a:lumOff val="50000"/>
                </a:sysClr>
              </a:solidFill>
              <a:latin typeface="Calibri" panose="020F0502020204030204"/>
            </a:rPr>
            <a:t>Box PLOT ROLLING MEAN (PUMP FAILURE = 0)</a:t>
          </a:r>
        </a:p>
      </cx:txPr>
    </cx:title>
    <cx:plotArea>
      <cx:plotAreaRegion>
        <cx:series layoutId="boxWhisker" uniqueId="{FB0149A2-AA27-42BF-9E49-FCD1991C80BE}" formatIdx="0">
          <cx:tx>
            <cx:txData>
              <cx:f>'Data Repository Table'!$C$1</cx:f>
              <cx:v>Volumetric Flow Meter 1</cx:v>
            </cx:txData>
          </cx:tx>
          <cx:dataId val="0"/>
          <cx:layoutPr>
            <cx:visibility meanLine="0" meanMarker="0" nonoutliers="0" outliers="1"/>
            <cx:statistics quartileMethod="exclusive"/>
          </cx:layoutPr>
        </cx:series>
        <cx:series layoutId="boxWhisker" uniqueId="{1893F389-D992-41F9-82CD-7363889A44CD}" formatIdx="1">
          <cx:tx>
            <cx:txData>
              <cx:f>'Data Repository Table'!$D$1</cx:f>
              <cx:v>Volumetric Flow Meter 2</cx:v>
            </cx:txData>
          </cx:tx>
          <cx:dataId val="1"/>
          <cx:layoutPr>
            <cx:visibility meanLine="0" meanMarker="0" nonoutliers="0" outliers="1"/>
            <cx:statistics quartileMethod="exclusive"/>
          </cx:layoutPr>
        </cx:series>
        <cx:series layoutId="boxWhisker" uniqueId="{A8B2E50C-ACAB-4D5C-BF9A-5BE3B5AAC8F6}" formatIdx="2">
          <cx:tx>
            <cx:txData>
              <cx:f>'Data Repository Table'!$E$1</cx:f>
              <cx:v>Pump Speed (RPM)</cx:v>
            </cx:txData>
          </cx:tx>
          <cx:dataId val="2"/>
          <cx:layoutPr>
            <cx:visibility meanLine="0" meanMarker="0" nonoutliers="0" outliers="1"/>
            <cx:statistics quartileMethod="exclusive"/>
          </cx:layoutPr>
        </cx:series>
        <cx:series layoutId="boxWhisker" uniqueId="{AA9E38C9-264E-4621-BF71-2816DD8D5556}" formatIdx="3">
          <cx:tx>
            <cx:txData>
              <cx:f>'Data Repository Table'!$F$1</cx:f>
              <cx:v>Pump Torque </cx:v>
            </cx:txData>
          </cx:tx>
          <cx:dataId val="3"/>
          <cx:layoutPr>
            <cx:visibility meanLine="0" meanMarker="0" nonoutliers="0" outliers="1"/>
            <cx:statistics quartileMethod="exclusive"/>
          </cx:layoutPr>
        </cx:series>
        <cx:series layoutId="boxWhisker" uniqueId="{411B5D35-EE60-4B86-A22B-5B4F62EBB0D8}" formatIdx="4">
          <cx:tx>
            <cx:txData>
              <cx:f>'Data Repository Table'!$G$1</cx:f>
              <cx:v>Ambient Temperature</cx:v>
            </cx:txData>
          </cx:tx>
          <cx:dataId val="4"/>
          <cx:layoutPr>
            <cx:visibility meanLine="0" meanMarker="0" nonoutliers="0" outliers="1"/>
            <cx:statistics quartileMethod="exclusive"/>
          </cx:layoutPr>
        </cx:series>
        <cx:series layoutId="boxWhisker" uniqueId="{E29C99E8-BFDF-4EA4-AC41-15E1B09A3320}" formatIdx="5">
          <cx:tx>
            <cx:txData>
              <cx:f>'Data Repository Table'!$H$1</cx:f>
              <cx:v>Horse Power</cx:v>
            </cx:txData>
          </cx:tx>
          <cx:dataId val="5"/>
          <cx:layoutPr>
            <cx:visibility meanLine="0" meanMarker="0" nonoutliers="0" outliers="1"/>
            <cx:statistics quartileMethod="exclusive"/>
          </cx:layoutPr>
        </cx:series>
        <cx:series layoutId="boxWhisker" uniqueId="{78C7819E-400D-4A9A-8800-5F4A096F17FB}"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gapWidth="1.10000002"/>
        <cx:tickLabels/>
      </cx:axis>
      <cx:axis id="1">
        <cx:valScaling/>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708:$C$4759</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Data Repository Table'!$D$4708:$D$4759</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Data Repository Table'!$E$4708:$E$4759</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Data Repository Table'!$F$4708:$F$4759</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Data Repository Table'!$G$4708:$G$4759</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Data Repository Table'!$H$4708:$H$4759</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Data Repository Table'!$I$4708:$I$4759</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chartData>
  <cx:chart>
    <cx:title pos="t" align="ctr" overlay="0">
      <cx:tx>
        <cx:txData>
          <cx:v>BOXPLOT ROLLING MEAN (Pump failure = 1)</cx:v>
        </cx:txData>
      </cx:tx>
      <cx:txPr>
        <a:bodyPr spcFirstLastPara="1" vertOverflow="ellipsis" horzOverflow="overflow" wrap="square" lIns="0" tIns="0" rIns="0" bIns="0" anchor="ctr" anchorCtr="1"/>
        <a:lstStyle/>
        <a:p>
          <a:pPr algn="ctr" rtl="0">
            <a:defRPr/>
          </a:pPr>
          <a:r>
            <a:rPr lang="en-US" sz="1800" b="1" i="0" u="none" strike="noStrike" cap="all" spc="150" baseline="0">
              <a:solidFill>
                <a:sysClr val="windowText" lastClr="000000">
                  <a:lumMod val="50000"/>
                  <a:lumOff val="50000"/>
                </a:sysClr>
              </a:solidFill>
              <a:latin typeface="Calibri" panose="020F0502020204030204"/>
            </a:rPr>
            <a:t>BOXPLOT ROLLING MEAN (Pump failure = 1)</a:t>
          </a:r>
        </a:p>
      </cx:txPr>
    </cx:title>
    <cx:plotArea>
      <cx:plotAreaRegion>
        <cx:series layoutId="boxWhisker" uniqueId="{359A8AE3-AD9D-435B-897A-9E542F1A74BB}" formatIdx="0">
          <cx:tx>
            <cx:txData>
              <cx:f>'Data Repository Table'!$C$1</cx:f>
              <cx:v>Volumetric Flow Meter 1</cx:v>
            </cx:txData>
          </cx:tx>
          <cx:dataId val="0"/>
          <cx:layoutPr>
            <cx:visibility meanLine="0" meanMarker="0" nonoutliers="0" outliers="1"/>
            <cx:statistics quartileMethod="exclusive"/>
          </cx:layoutPr>
        </cx:series>
        <cx:series layoutId="boxWhisker" uniqueId="{97F1143D-B162-4EF5-B352-71B76701D872}" formatIdx="1">
          <cx:tx>
            <cx:txData>
              <cx:f>'Data Repository Table'!$D$1</cx:f>
              <cx:v>Volumetric Flow Meter 2</cx:v>
            </cx:txData>
          </cx:tx>
          <cx:dataId val="1"/>
          <cx:layoutPr>
            <cx:visibility meanLine="0" meanMarker="0" nonoutliers="0" outliers="1"/>
            <cx:statistics quartileMethod="exclusive"/>
          </cx:layoutPr>
        </cx:series>
        <cx:series layoutId="boxWhisker" uniqueId="{F03DE891-1E8B-4DBF-911C-BBB1FD3D2DD0}" formatIdx="2">
          <cx:tx>
            <cx:txData>
              <cx:f>'Data Repository Table'!$E$1</cx:f>
              <cx:v>Pump Speed (RPM)</cx:v>
            </cx:txData>
          </cx:tx>
          <cx:dataId val="2"/>
          <cx:layoutPr>
            <cx:visibility meanLine="0" meanMarker="0" nonoutliers="0" outliers="1"/>
            <cx:statistics quartileMethod="exclusive"/>
          </cx:layoutPr>
        </cx:series>
        <cx:series layoutId="boxWhisker" uniqueId="{A7CA88F5-1644-4DC9-982C-D116B6C92225}" formatIdx="3">
          <cx:tx>
            <cx:txData>
              <cx:f>'Data Repository Table'!$F$1</cx:f>
              <cx:v>Pump Torque </cx:v>
            </cx:txData>
          </cx:tx>
          <cx:dataId val="3"/>
          <cx:layoutPr>
            <cx:visibility meanLine="0" meanMarker="0" nonoutliers="0" outliers="1"/>
            <cx:statistics quartileMethod="exclusive"/>
          </cx:layoutPr>
        </cx:series>
        <cx:series layoutId="boxWhisker" uniqueId="{16739A86-7C6F-40FE-A9FD-5DEBB160A948}" formatIdx="4">
          <cx:tx>
            <cx:txData>
              <cx:f>'Data Repository Table'!$G$1</cx:f>
              <cx:v>Ambient Temperature</cx:v>
            </cx:txData>
          </cx:tx>
          <cx:dataId val="4"/>
          <cx:layoutPr>
            <cx:visibility meanLine="0" meanMarker="0" nonoutliers="0" outliers="1"/>
            <cx:statistics quartileMethod="exclusive"/>
          </cx:layoutPr>
        </cx:series>
        <cx:series layoutId="boxWhisker" uniqueId="{A1C200FE-1949-4D3B-A560-3FF814B72F09}" formatIdx="5">
          <cx:tx>
            <cx:txData>
              <cx:f>'Data Repository Table'!$H$1</cx:f>
              <cx:v>Horse Power</cx:v>
            </cx:txData>
          </cx:tx>
          <cx:dataId val="5"/>
          <cx:layoutPr>
            <cx:visibility meanLine="0" meanMarker="0" nonoutliers="0" outliers="1"/>
            <cx:statistics quartileMethod="exclusive"/>
          </cx:layoutPr>
        </cx:series>
        <cx:series layoutId="boxWhisker" uniqueId="{AFCA8E52-0AE9-4DC2-A303-158D05FED49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gapWidth="1.10000002"/>
        <cx:tickLabels/>
      </cx:axis>
      <cx:axis id="1">
        <cx:val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5/06/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6"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5.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10" Type="http://schemas.openxmlformats.org/officeDocument/2006/relationships/image" Target="../media/image7.png"/><Relationship Id="rId4" Type="http://schemas.microsoft.com/office/2014/relationships/chartEx" Target="../charts/chartEx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s proven effective in creating a proactive ‘alarm’, accurately identifying Pump Failures with Horse Power (HP) and Pump Efficiency (PE) emerging as key variables of interest with deviations of </a:t>
            </a:r>
            <a:r>
              <a:rPr lang="en-GB" sz="1350" b="1" dirty="0">
                <a:solidFill>
                  <a:srgbClr val="C00000"/>
                </a:solidFill>
              </a:rPr>
              <a:t>3 HP </a:t>
            </a:r>
            <a:r>
              <a:rPr lang="en-GB" sz="1350" b="1" dirty="0"/>
              <a:t>and </a:t>
            </a:r>
            <a:r>
              <a:rPr lang="en-GB" sz="1350" b="1" dirty="0">
                <a:solidFill>
                  <a:srgbClr val="C00000"/>
                </a:solidFill>
              </a:rPr>
              <a:t>&gt; 15 % Pump Efficiency </a:t>
            </a:r>
            <a:r>
              <a:rPr lang="en-GB" sz="1350" b="1" dirty="0"/>
              <a:t>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BF593009-F821-4957-96EA-1ADCFE4717E2}"/>
              </a:ext>
            </a:extLst>
          </p:cNvPr>
          <p:cNvGraphicFramePr>
            <a:graphicFrameLocks/>
          </p:cNvGraphicFramePr>
          <p:nvPr>
            <p:extLst>
              <p:ext uri="{D42A27DB-BD31-4B8C-83A1-F6EECF244321}">
                <p14:modId xmlns:p14="http://schemas.microsoft.com/office/powerpoint/2010/main" val="3706011851"/>
              </p:ext>
            </p:extLst>
          </p:nvPr>
        </p:nvGraphicFramePr>
        <p:xfrm>
          <a:off x="4972050" y="1036856"/>
          <a:ext cx="3836987" cy="54994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12253371-EE39-402E-8014-3AFBA6D016F6}"/>
              </a:ext>
            </a:extLst>
          </p:cNvPr>
          <p:cNvGraphicFramePr>
            <a:graphicFrameLocks/>
          </p:cNvGraphicFramePr>
          <p:nvPr>
            <p:extLst>
              <p:ext uri="{D42A27DB-BD31-4B8C-83A1-F6EECF244321}">
                <p14:modId xmlns:p14="http://schemas.microsoft.com/office/powerpoint/2010/main" val="3474635271"/>
              </p:ext>
            </p:extLst>
          </p:nvPr>
        </p:nvGraphicFramePr>
        <p:xfrm>
          <a:off x="434975" y="946150"/>
          <a:ext cx="4537075" cy="5499469"/>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D23C1463-0EC5-47CB-875D-4E52D0F76DC2}"/>
              </a:ext>
            </a:extLst>
          </p:cNvPr>
          <p:cNvSpPr/>
          <p:nvPr/>
        </p:nvSpPr>
        <p:spPr>
          <a:xfrm>
            <a:off x="859899" y="6104074"/>
            <a:ext cx="3620820" cy="27250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err="1">
              <a:solidFill>
                <a:schemeClr val="tx1"/>
              </a:solidFill>
            </a:endParaRPr>
          </a:p>
        </p:txBody>
      </p:sp>
      <p:sp>
        <p:nvSpPr>
          <p:cNvPr id="4" name="Rectangle 3">
            <a:extLst>
              <a:ext uri="{FF2B5EF4-FFF2-40B4-BE49-F238E27FC236}">
                <a16:creationId xmlns:a16="http://schemas.microsoft.com/office/drawing/2014/main" id="{5104C998-BCC8-4DB6-A321-0961C59A7111}"/>
              </a:ext>
            </a:extLst>
          </p:cNvPr>
          <p:cNvSpPr/>
          <p:nvPr/>
        </p:nvSpPr>
        <p:spPr>
          <a:xfrm>
            <a:off x="4020938" y="1943857"/>
            <a:ext cx="459781" cy="4069506"/>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err="1">
              <a:solidFill>
                <a:schemeClr val="tx1"/>
              </a:solidFill>
            </a:endParaRPr>
          </a:p>
        </p:txBody>
      </p:sp>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graphicFrame>
        <p:nvGraphicFramePr>
          <p:cNvPr id="9" name="Chart 8">
            <a:extLst>
              <a:ext uri="{FF2B5EF4-FFF2-40B4-BE49-F238E27FC236}">
                <a16:creationId xmlns:a16="http://schemas.microsoft.com/office/drawing/2014/main" id="{6448F94E-3B80-414F-8B95-DC472AD56317}"/>
              </a:ext>
            </a:extLst>
          </p:cNvPr>
          <p:cNvGraphicFramePr>
            <a:graphicFrameLocks/>
          </p:cNvGraphicFramePr>
          <p:nvPr>
            <p:extLst>
              <p:ext uri="{D42A27DB-BD31-4B8C-83A1-F6EECF244321}">
                <p14:modId xmlns:p14="http://schemas.microsoft.com/office/powerpoint/2010/main" val="134120677"/>
              </p:ext>
            </p:extLst>
          </p:nvPr>
        </p:nvGraphicFramePr>
        <p:xfrm>
          <a:off x="171451" y="1041996"/>
          <a:ext cx="8439149" cy="26141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5ACFC24A-2D13-4842-BA6D-EDCBB67DB28A}"/>
              </a:ext>
            </a:extLst>
          </p:cNvPr>
          <p:cNvGraphicFramePr>
            <a:graphicFrameLocks/>
          </p:cNvGraphicFramePr>
          <p:nvPr>
            <p:extLst>
              <p:ext uri="{D42A27DB-BD31-4B8C-83A1-F6EECF244321}">
                <p14:modId xmlns:p14="http://schemas.microsoft.com/office/powerpoint/2010/main" val="972964156"/>
              </p:ext>
            </p:extLst>
          </p:nvPr>
        </p:nvGraphicFramePr>
        <p:xfrm>
          <a:off x="171451" y="3805805"/>
          <a:ext cx="8439149" cy="2614129"/>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plots, show a clear signature difference between that of normal behaviour and that of Failure with Pump Torque, Pump Efficiency, Ambient Temperature showing the largest overall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28E9706E-72E3-4F87-92BF-3CECF2D04E03}"/>
                  </a:ext>
                </a:extLst>
              </p:cNvPr>
              <p:cNvGraphicFramePr/>
              <p:nvPr>
                <p:extLst>
                  <p:ext uri="{D42A27DB-BD31-4B8C-83A1-F6EECF244321}">
                    <p14:modId xmlns:p14="http://schemas.microsoft.com/office/powerpoint/2010/main" val="3633029644"/>
                  </p:ext>
                </p:extLst>
              </p:nvPr>
            </p:nvGraphicFramePr>
            <p:xfrm>
              <a:off x="5087813" y="1486785"/>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9" name="Chart 8">
                <a:extLst>
                  <a:ext uri="{FF2B5EF4-FFF2-40B4-BE49-F238E27FC236}">
                    <a16:creationId xmlns:a16="http://schemas.microsoft.com/office/drawing/2014/main" id="{28E9706E-72E3-4F87-92BF-3CECF2D04E03}"/>
                  </a:ext>
                </a:extLst>
              </p:cNvPr>
              <p:cNvPicPr>
                <a:picLocks noGrp="1" noRot="1" noChangeAspect="1" noMove="1" noResize="1" noEditPoints="1" noAdjustHandles="1" noChangeArrowheads="1" noChangeShapeType="1"/>
              </p:cNvPicPr>
              <p:nvPr/>
            </p:nvPicPr>
            <p:blipFill>
              <a:blip r:embed="rId3"/>
              <a:stretch>
                <a:fillRect/>
              </a:stretch>
            </p:blipFill>
            <p:spPr>
              <a:xfrm>
                <a:off x="5087813" y="1486785"/>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29E5988C-C645-4E8F-9463-34BA8E70C689}"/>
                  </a:ext>
                </a:extLst>
              </p:cNvPr>
              <p:cNvGraphicFramePr/>
              <p:nvPr>
                <p:extLst>
                  <p:ext uri="{D42A27DB-BD31-4B8C-83A1-F6EECF244321}">
                    <p14:modId xmlns:p14="http://schemas.microsoft.com/office/powerpoint/2010/main" val="3123009762"/>
                  </p:ext>
                </p:extLst>
              </p:nvPr>
            </p:nvGraphicFramePr>
            <p:xfrm>
              <a:off x="441461" y="1487589"/>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0" name="Chart 9">
                <a:extLst>
                  <a:ext uri="{FF2B5EF4-FFF2-40B4-BE49-F238E27FC236}">
                    <a16:creationId xmlns:a16="http://schemas.microsoft.com/office/drawing/2014/main" id="{29E5988C-C645-4E8F-9463-34BA8E70C689}"/>
                  </a:ext>
                </a:extLst>
              </p:cNvPr>
              <p:cNvPicPr>
                <a:picLocks noGrp="1" noRot="1" noChangeAspect="1" noMove="1" noResize="1" noEditPoints="1" noAdjustHandles="1" noChangeArrowheads="1" noChangeShapeType="1"/>
              </p:cNvPicPr>
              <p:nvPr/>
            </p:nvPicPr>
            <p:blipFill>
              <a:blip r:embed="rId5"/>
              <a:stretch>
                <a:fillRect/>
              </a:stretch>
            </p:blipFill>
            <p:spPr>
              <a:xfrm>
                <a:off x="441461" y="1487589"/>
                <a:ext cx="3887137" cy="2256396"/>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36C516B1-007F-4DC6-987C-70F85DB82520}"/>
                  </a:ext>
                </a:extLst>
              </p:cNvPr>
              <p:cNvGraphicFramePr/>
              <p:nvPr>
                <p:extLst>
                  <p:ext uri="{D42A27DB-BD31-4B8C-83A1-F6EECF244321}">
                    <p14:modId xmlns:p14="http://schemas.microsoft.com/office/powerpoint/2010/main" val="2378915891"/>
                  </p:ext>
                </p:extLst>
              </p:nvPr>
            </p:nvGraphicFramePr>
            <p:xfrm>
              <a:off x="592719" y="3938638"/>
              <a:ext cx="3888000" cy="22572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36C516B1-007F-4DC6-987C-70F85DB82520}"/>
                  </a:ext>
                </a:extLst>
              </p:cNvPr>
              <p:cNvPicPr>
                <a:picLocks noGrp="1" noRot="1" noChangeAspect="1" noMove="1" noResize="1" noEditPoints="1" noAdjustHandles="1" noChangeArrowheads="1" noChangeShapeType="1"/>
              </p:cNvPicPr>
              <p:nvPr/>
            </p:nvPicPr>
            <p:blipFill>
              <a:blip r:embed="rId7"/>
              <a:stretch>
                <a:fillRect/>
              </a:stretch>
            </p:blipFill>
            <p:spPr>
              <a:xfrm>
                <a:off x="592719" y="3938638"/>
                <a:ext cx="38880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2" name="Chart 11">
                <a:extLst>
                  <a:ext uri="{FF2B5EF4-FFF2-40B4-BE49-F238E27FC236}">
                    <a16:creationId xmlns:a16="http://schemas.microsoft.com/office/drawing/2014/main" id="{6A8B325D-96DB-448C-8B8E-093B31D9F3BB}"/>
                  </a:ext>
                </a:extLst>
              </p:cNvPr>
              <p:cNvGraphicFramePr/>
              <p:nvPr>
                <p:extLst>
                  <p:ext uri="{D42A27DB-BD31-4B8C-83A1-F6EECF244321}">
                    <p14:modId xmlns:p14="http://schemas.microsoft.com/office/powerpoint/2010/main" val="3362515858"/>
                  </p:ext>
                </p:extLst>
              </p:nvPr>
            </p:nvGraphicFramePr>
            <p:xfrm>
              <a:off x="5201897" y="3938638"/>
              <a:ext cx="3700800" cy="2257200"/>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2" name="Chart 11">
                <a:extLst>
                  <a:ext uri="{FF2B5EF4-FFF2-40B4-BE49-F238E27FC236}">
                    <a16:creationId xmlns:a16="http://schemas.microsoft.com/office/drawing/2014/main" id="{6A8B325D-96DB-448C-8B8E-093B31D9F3BB}"/>
                  </a:ext>
                </a:extLst>
              </p:cNvPr>
              <p:cNvPicPr>
                <a:picLocks noGrp="1" noRot="1" noChangeAspect="1" noMove="1" noResize="1" noEditPoints="1" noAdjustHandles="1" noChangeArrowheads="1" noChangeShapeType="1"/>
              </p:cNvPicPr>
              <p:nvPr/>
            </p:nvPicPr>
            <p:blipFill>
              <a:blip r:embed="rId9"/>
              <a:stretch>
                <a:fillRect/>
              </a:stretch>
            </p:blipFill>
            <p:spPr>
              <a:xfrm>
                <a:off x="5201897" y="3938638"/>
                <a:ext cx="3700800" cy="2257200"/>
              </a:xfrm>
              <a:prstGeom prst="rect">
                <a:avLst/>
              </a:prstGeom>
            </p:spPr>
          </p:pic>
        </mc:Fallback>
      </mc:AlternateContent>
      <p:pic>
        <p:nvPicPr>
          <p:cNvPr id="3" name="Picture 2">
            <a:extLst>
              <a:ext uri="{FF2B5EF4-FFF2-40B4-BE49-F238E27FC236}">
                <a16:creationId xmlns:a16="http://schemas.microsoft.com/office/drawing/2014/main" id="{2BD75EA5-CBCB-4223-905F-B0987A83909C}"/>
              </a:ext>
            </a:extLst>
          </p:cNvPr>
          <p:cNvPicPr>
            <a:picLocks noChangeAspect="1"/>
          </p:cNvPicPr>
          <p:nvPr/>
        </p:nvPicPr>
        <p:blipFill>
          <a:blip r:embed="rId10"/>
          <a:stretch>
            <a:fillRect/>
          </a:stretch>
        </p:blipFill>
        <p:spPr>
          <a:xfrm>
            <a:off x="537092" y="1010056"/>
            <a:ext cx="8191500" cy="285750"/>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553998"/>
          </a:xfrm>
        </p:spPr>
        <p:txBody>
          <a:bodyPr/>
          <a:lstStyle/>
          <a:p>
            <a:pPr algn="just"/>
            <a:r>
              <a:rPr lang="en-AU" sz="1200" b="1" dirty="0"/>
              <a:t>Correlation analyses across datasets yield particularly interesting insights with Volumetric Flow (-0.69) and Pump Efficiency (-0.70) negatively correlated with Pump Failure in the Rolling Mean Data, whilst Horse Power (0.70), Volumetric Flow Meter 1 (0.66) and Pump Efficiency show a strong positive correlation in the Rolling Stdev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622C51D1-7472-4EF4-9F61-4D665637791E}"/>
              </a:ext>
            </a:extLst>
          </p:cNvPr>
          <p:cNvGraphicFramePr>
            <a:graphicFrameLocks/>
          </p:cNvGraphicFramePr>
          <p:nvPr>
            <p:extLst>
              <p:ext uri="{D42A27DB-BD31-4B8C-83A1-F6EECF244321}">
                <p14:modId xmlns:p14="http://schemas.microsoft.com/office/powerpoint/2010/main" val="2351566557"/>
              </p:ext>
            </p:extLst>
          </p:nvPr>
        </p:nvGraphicFramePr>
        <p:xfrm>
          <a:off x="0" y="1301930"/>
          <a:ext cx="2811600" cy="5234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7E46FDB7-1AAE-4F08-9FA1-247A863A294A}"/>
              </a:ext>
            </a:extLst>
          </p:cNvPr>
          <p:cNvGraphicFramePr>
            <a:graphicFrameLocks/>
          </p:cNvGraphicFramePr>
          <p:nvPr>
            <p:extLst>
              <p:ext uri="{D42A27DB-BD31-4B8C-83A1-F6EECF244321}">
                <p14:modId xmlns:p14="http://schemas.microsoft.com/office/powerpoint/2010/main" val="3915294496"/>
              </p:ext>
            </p:extLst>
          </p:nvPr>
        </p:nvGraphicFramePr>
        <p:xfrm>
          <a:off x="2859648" y="1301930"/>
          <a:ext cx="2811600" cy="5234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B8B2BAE2-4300-46E4-8770-A160804EAA1A}"/>
              </a:ext>
            </a:extLst>
          </p:cNvPr>
          <p:cNvGraphicFramePr>
            <a:graphicFrameLocks/>
          </p:cNvGraphicFramePr>
          <p:nvPr>
            <p:extLst>
              <p:ext uri="{D42A27DB-BD31-4B8C-83A1-F6EECF244321}">
                <p14:modId xmlns:p14="http://schemas.microsoft.com/office/powerpoint/2010/main" val="781739036"/>
              </p:ext>
            </p:extLst>
          </p:nvPr>
        </p:nvGraphicFramePr>
        <p:xfrm>
          <a:off x="5799000" y="1301930"/>
          <a:ext cx="2811600" cy="52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Lastly, analysis of the model fit reveals that with a R Squared of 0.77, a linear model is a good fit for the data with Horse Power, Pump Efficiency and Volumetric Flow Meter 2 having the largest coefficients, indicative that these variables have the most absolute rate of change with respect to Pump Failure behaviour.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4B333FEC-40BF-4818-9FDD-C0C047A7D94B}"/>
              </a:ext>
            </a:extLst>
          </p:cNvPr>
          <p:cNvGraphicFramePr>
            <a:graphicFrameLocks/>
          </p:cNvGraphicFramePr>
          <p:nvPr>
            <p:extLst>
              <p:ext uri="{D42A27DB-BD31-4B8C-83A1-F6EECF244321}">
                <p14:modId xmlns:p14="http://schemas.microsoft.com/office/powerpoint/2010/main" val="3320985678"/>
              </p:ext>
            </p:extLst>
          </p:nvPr>
        </p:nvGraphicFramePr>
        <p:xfrm>
          <a:off x="171450" y="1239656"/>
          <a:ext cx="8340447" cy="51732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12</TotalTime>
  <Words>344</Words>
  <Application>Microsoft Office PowerPoint</Application>
  <PresentationFormat>Custom</PresentationFormat>
  <Paragraphs>18</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s proven effective in creating a proactive ‘alarm’, accurately identifying Pump Failures with Horse Power (HP) and Pump Efficiency (PE) emerging as key variables of interest with deviations of 3 HP and &gt; 15 % Pump Efficiency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plots, show a clear signature difference between that of normal behaviour and that of Failure with Pump Torque, Pump Efficiency, Ambient Temperature showing the largest overall variances.</vt:lpstr>
      <vt:lpstr>Correlation analyses across datasets yield particularly interesting insights with Volumetric Flow (-0.69) and Pump Efficiency (-0.70) negatively correlated with Pump Failure in the Rolling Mean Data, whilst Horse Power (0.70), Volumetric Flow Meter 1 (0.66) and Pump Efficiency show a strong positive correlation in the Rolling Stdev Dataset. </vt:lpstr>
      <vt:lpstr>Lastly, analysis of the model fit reveals that with a R Squared of 0.77, a linear model is a good fit for the data with Horse Power, Pump Efficiency and Volumetric Flow Meter 2 having the largest coefficients, indicative that these variables have the most absolute rate of change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Chris Hui</cp:lastModifiedBy>
  <cp:revision>85</cp:revision>
  <dcterms:created xsi:type="dcterms:W3CDTF">2020-04-12T13:23:13Z</dcterms:created>
  <dcterms:modified xsi:type="dcterms:W3CDTF">2021-06-15T03:07:28Z</dcterms:modified>
</cp:coreProperties>
</file>